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8"/>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Base Price Bracket" id="{6A78EC73-BEED-4044-9862-3062CA09572F}">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605</c:v>
                </c:pt>
                <c:pt idx="3">
                  <c:v>3.2000000000000001E-2</c:v>
                </c:pt>
                <c:pt idx="4">
                  <c:v>4.6399999999999997E-2</c:v>
                </c:pt>
                <c:pt idx="5">
                  <c:v>0.12379999999999999</c:v>
                </c:pt>
                <c:pt idx="6">
                  <c:v>1.38E-2</c:v>
                </c:pt>
                <c:pt idx="7">
                  <c:v>0.30109999999999998</c:v>
                </c:pt>
                <c:pt idx="8">
                  <c:v>0.3224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605</c:v>
                </c:pt>
                <c:pt idx="3">
                  <c:v>3.2000000000000001E-2</c:v>
                </c:pt>
                <c:pt idx="4">
                  <c:v>4.6399999999999997E-2</c:v>
                </c:pt>
                <c:pt idx="5">
                  <c:v>0.12379999999999999</c:v>
                </c:pt>
                <c:pt idx="6">
                  <c:v>1.38E-2</c:v>
                </c:pt>
                <c:pt idx="7">
                  <c:v>0.30109999999999998</c:v>
                </c:pt>
                <c:pt idx="8">
                  <c:v>0.3224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32E-2</c:v>
                </c:pt>
                <c:pt idx="3">
                  <c:v>0.2707</c:v>
                </c:pt>
                <c:pt idx="4">
                  <c:v>0.31019999999999998</c:v>
                </c:pt>
                <c:pt idx="5">
                  <c:v>4.1000000000000003E-3</c:v>
                </c:pt>
                <c:pt idx="6">
                  <c:v>3.4200000000000001E-2</c:v>
                </c:pt>
                <c:pt idx="7">
                  <c:v>0.33479999999999999</c:v>
                </c:pt>
                <c:pt idx="8">
                  <c:v>1.28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743100656871526E-2</c:v>
                </c:pt>
                <c:pt idx="1">
                  <c:v>1.7668436403600652E-2</c:v>
                </c:pt>
                <c:pt idx="2">
                  <c:v>1.9761089853989711E-2</c:v>
                </c:pt>
                <c:pt idx="3">
                  <c:v>7.1929017483309335E-2</c:v>
                </c:pt>
                <c:pt idx="4">
                  <c:v>8.5834699757590782E-2</c:v>
                </c:pt>
                <c:pt idx="5">
                  <c:v>9.9113253128779624E-2</c:v>
                </c:pt>
                <c:pt idx="6">
                  <c:v>0.10772432930876731</c:v>
                </c:pt>
                <c:pt idx="7">
                  <c:v>0.18687023002152806</c:v>
                </c:pt>
                <c:pt idx="8">
                  <c:v>0.17963631715180861</c:v>
                </c:pt>
                <c:pt idx="9">
                  <c:v>0.14017528983490166</c:v>
                </c:pt>
                <c:pt idx="10">
                  <c:v>5.954423639885274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5.1788568969705526E-4</c:v>
                </c:pt>
                <c:pt idx="3">
                  <c:v>4.2210002552103779E-3</c:v>
                </c:pt>
                <c:pt idx="4">
                  <c:v>4.8367016634500255E-3</c:v>
                </c:pt>
                <c:pt idx="5">
                  <c:v>6.3778482848362203E-5</c:v>
                </c:pt>
                <c:pt idx="6">
                  <c:v>5.3328952288445399E-4</c:v>
                </c:pt>
                <c:pt idx="7">
                  <c:v>5.2206759618099018E-3</c:v>
                </c:pt>
                <c:pt idx="8">
                  <c:v>1.9953061847340932E-4</c:v>
                </c:pt>
                <c:pt idx="10">
                  <c:v>1.295134454038895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529280227511586E-2</c:v>
                </c:pt>
                <c:pt idx="1">
                  <c:v>3.0797470635478524E-4</c:v>
                </c:pt>
                <c:pt idx="2">
                  <c:v>2.0207569545585679E-3</c:v>
                </c:pt>
                <c:pt idx="3">
                  <c:v>2.9722418103653937E-2</c:v>
                </c:pt>
                <c:pt idx="4">
                  <c:v>3.7124607517426071E-2</c:v>
                </c:pt>
                <c:pt idx="5">
                  <c:v>1.7737359601397294E-2</c:v>
                </c:pt>
                <c:pt idx="6">
                  <c:v>2.4997274361985424E-2</c:v>
                </c:pt>
                <c:pt idx="7">
                  <c:v>6.518028126930947E-2</c:v>
                </c:pt>
                <c:pt idx="8">
                  <c:v>8.730539106467726E-2</c:v>
                </c:pt>
                <c:pt idx="9">
                  <c:v>0.10904952741577124</c:v>
                </c:pt>
                <c:pt idx="10">
                  <c:v>5.257837502704109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9114806739003417E-3</c:v>
                </c:pt>
                <c:pt idx="1">
                  <c:v>2.4584407542879591E-4</c:v>
                </c:pt>
                <c:pt idx="2">
                  <c:v>1.1112446508019218E-3</c:v>
                </c:pt>
                <c:pt idx="3">
                  <c:v>4.9339662609483473E-4</c:v>
                </c:pt>
                <c:pt idx="4">
                  <c:v>3.5644469995640771E-3</c:v>
                </c:pt>
                <c:pt idx="5">
                  <c:v>1.3974200398110552E-2</c:v>
                </c:pt>
                <c:pt idx="6">
                  <c:v>7.7427023065807284E-3</c:v>
                </c:pt>
                <c:pt idx="7">
                  <c:v>1.8775850763144888E-2</c:v>
                </c:pt>
                <c:pt idx="8">
                  <c:v>1.1124022805554148E-2</c:v>
                </c:pt>
                <c:pt idx="9">
                  <c:v>1.227837063322857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794835298647053E-4</c:v>
                </c:pt>
                <c:pt idx="1">
                  <c:v>1.8701052615016311E-3</c:v>
                </c:pt>
                <c:pt idx="2">
                  <c:v>1.0809137041304193E-4</c:v>
                </c:pt>
                <c:pt idx="3">
                  <c:v>8.0761002267077753E-4</c:v>
                </c:pt>
                <c:pt idx="4">
                  <c:v>2.6257307916714642E-3</c:v>
                </c:pt>
                <c:pt idx="5">
                  <c:v>1.1132804919394621E-2</c:v>
                </c:pt>
                <c:pt idx="6">
                  <c:v>3.8837858218517484E-3</c:v>
                </c:pt>
                <c:pt idx="7">
                  <c:v>6.9727421180493833E-3</c:v>
                </c:pt>
                <c:pt idx="8">
                  <c:v>4.1590845614916539E-3</c:v>
                </c:pt>
                <c:pt idx="9">
                  <c:v>1.66757103333694E-3</c:v>
                </c:pt>
                <c:pt idx="10">
                  <c:v>4.984727264731007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316439140247313E-2</c:v>
                </c:pt>
                <c:pt idx="1">
                  <c:v>1.5244512360315442E-2</c:v>
                </c:pt>
                <c:pt idx="2">
                  <c:v>1.6003111188519124E-2</c:v>
                </c:pt>
                <c:pt idx="3">
                  <c:v>3.6684592475679408E-2</c:v>
                </c:pt>
                <c:pt idx="4">
                  <c:v>3.7683212785479148E-2</c:v>
                </c:pt>
                <c:pt idx="5">
                  <c:v>5.6205109727028781E-2</c:v>
                </c:pt>
                <c:pt idx="6">
                  <c:v>7.0567277295464956E-2</c:v>
                </c:pt>
                <c:pt idx="7">
                  <c:v>9.0720679909214383E-2</c:v>
                </c:pt>
                <c:pt idx="8">
                  <c:v>7.6848288101612164E-2</c:v>
                </c:pt>
                <c:pt idx="9">
                  <c:v>1.717982075256488E-2</c:v>
                </c:pt>
                <c:pt idx="10">
                  <c:v>1.981004593635238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6889999999999997</c:v>
                </c:pt>
                <c:pt idx="4">
                  <c:v>0.14979999999999999</c:v>
                </c:pt>
                <c:pt idx="5">
                  <c:v>0.15809999999999999</c:v>
                </c:pt>
                <c:pt idx="6">
                  <c:v>8.5999999999999993E-2</c:v>
                </c:pt>
                <c:pt idx="7">
                  <c:v>0.26860000000000001</c:v>
                </c:pt>
                <c:pt idx="8">
                  <c:v>6.8000000000000005E-2</c:v>
                </c:pt>
                <c:pt idx="9">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687491382740963E-2</c:v>
                </c:pt>
                <c:pt idx="1">
                  <c:v>1.9844749506181529E-2</c:v>
                </c:pt>
                <c:pt idx="2">
                  <c:v>2.0650975604824384E-2</c:v>
                </c:pt>
                <c:pt idx="3">
                  <c:v>3.8112756164787195E-2</c:v>
                </c:pt>
                <c:pt idx="4">
                  <c:v>6.1780284235111782E-2</c:v>
                </c:pt>
                <c:pt idx="5">
                  <c:v>9.9232697922490468E-2</c:v>
                </c:pt>
                <c:pt idx="6">
                  <c:v>0.13318263902711563</c:v>
                </c:pt>
                <c:pt idx="7">
                  <c:v>0.17852552028295066</c:v>
                </c:pt>
                <c:pt idx="8">
                  <c:v>0.24419319081565979</c:v>
                </c:pt>
                <c:pt idx="9">
                  <c:v>9.5217018324198863E-2</c:v>
                </c:pt>
                <c:pt idx="10">
                  <c:v>9.257267673393883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980267979165756E-8</c:v>
                </c:pt>
                <c:pt idx="2">
                  <c:v>2.6896514587338518E-8</c:v>
                </c:pt>
                <c:pt idx="3">
                  <c:v>7.3954533553850735E-3</c:v>
                </c:pt>
                <c:pt idx="4">
                  <c:v>4.1195377997191585E-3</c:v>
                </c:pt>
                <c:pt idx="5">
                  <c:v>4.3478899770375079E-3</c:v>
                </c:pt>
                <c:pt idx="6">
                  <c:v>2.3661816787569931E-3</c:v>
                </c:pt>
                <c:pt idx="7">
                  <c:v>7.3863315945807391E-3</c:v>
                </c:pt>
                <c:pt idx="8">
                  <c:v>1.8713949333520046E-3</c:v>
                </c:pt>
                <c:pt idx="9">
                  <c:v>1.3803291286222127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4528746413826233E-4</c:v>
                </c:pt>
                <c:pt idx="1">
                  <c:v>2.5300982603143783E-3</c:v>
                </c:pt>
                <c:pt idx="2">
                  <c:v>3.0223198466995805E-3</c:v>
                </c:pt>
                <c:pt idx="3">
                  <c:v>4.7070176191105692E-3</c:v>
                </c:pt>
                <c:pt idx="4">
                  <c:v>1.9775029129540076E-2</c:v>
                </c:pt>
                <c:pt idx="5">
                  <c:v>1.4497321263915357E-2</c:v>
                </c:pt>
                <c:pt idx="6">
                  <c:v>3.3392414012350054E-2</c:v>
                </c:pt>
                <c:pt idx="7">
                  <c:v>5.5172133359177762E-2</c:v>
                </c:pt>
                <c:pt idx="8">
                  <c:v>0.1211944651755948</c:v>
                </c:pt>
                <c:pt idx="9">
                  <c:v>6.6530896493537356E-2</c:v>
                </c:pt>
                <c:pt idx="10">
                  <c:v>7.782081607763105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2178564380367223E-4</c:v>
                </c:pt>
                <c:pt idx="3">
                  <c:v>3.0438478169752858E-4</c:v>
                </c:pt>
                <c:pt idx="4">
                  <c:v>9.0721713161539218E-4</c:v>
                </c:pt>
                <c:pt idx="5">
                  <c:v>2.0921409300394236E-2</c:v>
                </c:pt>
                <c:pt idx="6">
                  <c:v>9.7251134096916873E-3</c:v>
                </c:pt>
                <c:pt idx="7">
                  <c:v>2.4503085970832708E-3</c:v>
                </c:pt>
                <c:pt idx="8">
                  <c:v>1.1352227281314876E-3</c:v>
                </c:pt>
                <c:pt idx="10">
                  <c:v>7.4710832805172879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5.6577971142234606E-5</c:v>
                </c:pt>
                <c:pt idx="4">
                  <c:v>5.505870230397265E-3</c:v>
                </c:pt>
                <c:pt idx="5">
                  <c:v>5.1641308007689953E-7</c:v>
                </c:pt>
                <c:pt idx="6">
                  <c:v>1.2545607958702642E-2</c:v>
                </c:pt>
                <c:pt idx="7">
                  <c:v>2.8553270723452491E-3</c:v>
                </c:pt>
                <c:pt idx="8">
                  <c:v>1.64415765498689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285605967192487E-2</c:v>
                </c:pt>
                <c:pt idx="1">
                  <c:v>1.731465124586715E-2</c:v>
                </c:pt>
                <c:pt idx="2">
                  <c:v>1.6906843217806541E-2</c:v>
                </c:pt>
                <c:pt idx="3">
                  <c:v>2.570590040859402E-2</c:v>
                </c:pt>
                <c:pt idx="4">
                  <c:v>3.147262994383989E-2</c:v>
                </c:pt>
                <c:pt idx="5">
                  <c:v>5.946556096806329E-2</c:v>
                </c:pt>
                <c:pt idx="6">
                  <c:v>7.5153321967614248E-2</c:v>
                </c:pt>
                <c:pt idx="7">
                  <c:v>0.11066141965976357</c:v>
                </c:pt>
                <c:pt idx="8">
                  <c:v>0.10355053142871254</c:v>
                </c:pt>
                <c:pt idx="9">
                  <c:v>2.8672318539375276E-2</c:v>
                </c:pt>
                <c:pt idx="10">
                  <c:v>1.4744389573027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414</c:v>
                </c:pt>
                <c:pt idx="4">
                  <c:v>0.26279999999999998</c:v>
                </c:pt>
                <c:pt idx="5">
                  <c:v>0.1242</c:v>
                </c:pt>
                <c:pt idx="6">
                  <c:v>0.1134</c:v>
                </c:pt>
                <c:pt idx="7">
                  <c:v>0.14369999999999999</c:v>
                </c:pt>
                <c:pt idx="8">
                  <c:v>6.4399999999999999E-2</c:v>
                </c:pt>
                <c:pt idx="9">
                  <c:v>4.97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3E-2</c:v>
                </c:pt>
                <c:pt idx="1">
                  <c:v>2.6808770478219595E-2</c:v>
                </c:pt>
                <c:pt idx="2">
                  <c:v>3.3618921453349208E-2</c:v>
                </c:pt>
                <c:pt idx="3">
                  <c:v>4.3193698660743143E-2</c:v>
                </c:pt>
                <c:pt idx="4">
                  <c:v>6.0866470201537952E-2</c:v>
                </c:pt>
                <c:pt idx="5">
                  <c:v>0.11629275414523582</c:v>
                </c:pt>
                <c:pt idx="6">
                  <c:v>0.14114999538782796</c:v>
                </c:pt>
                <c:pt idx="7">
                  <c:v>0.18708207317322248</c:v>
                </c:pt>
                <c:pt idx="8">
                  <c:v>0.19672272953911321</c:v>
                </c:pt>
                <c:pt idx="9">
                  <c:v>0.14353338057932882</c:v>
                </c:pt>
                <c:pt idx="10">
                  <c:v>2.66545056269850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6163481912452955E-7</c:v>
                </c:pt>
                <c:pt idx="1">
                  <c:v>2.1857567294402178E-6</c:v>
                </c:pt>
                <c:pt idx="2">
                  <c:v>3.3935563242649154E-6</c:v>
                </c:pt>
                <c:pt idx="3">
                  <c:v>7.3350570736685104E-3</c:v>
                </c:pt>
                <c:pt idx="4">
                  <c:v>7.9841907685930073E-3</c:v>
                </c:pt>
                <c:pt idx="5">
                  <c:v>3.7744728815551137E-3</c:v>
                </c:pt>
                <c:pt idx="6">
                  <c:v>3.4438242223271344E-3</c:v>
                </c:pt>
                <c:pt idx="7">
                  <c:v>4.3662901763043098E-3</c:v>
                </c:pt>
                <c:pt idx="8">
                  <c:v>1.9560900311123767E-3</c:v>
                </c:pt>
                <c:pt idx="9">
                  <c:v>1.5140984734152224E-3</c:v>
                </c:pt>
                <c:pt idx="10">
                  <c:v>1.3520144718186915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104435276264057E-3</c:v>
                </c:pt>
                <c:pt idx="1">
                  <c:v>1.6243417334473184E-3</c:v>
                </c:pt>
                <c:pt idx="2">
                  <c:v>9.4760486039468118E-3</c:v>
                </c:pt>
                <c:pt idx="3">
                  <c:v>2.9647063472338386E-3</c:v>
                </c:pt>
                <c:pt idx="4">
                  <c:v>1.0659466871129713E-2</c:v>
                </c:pt>
                <c:pt idx="5">
                  <c:v>3.3624212336648938E-2</c:v>
                </c:pt>
                <c:pt idx="6">
                  <c:v>3.4873370054166568E-2</c:v>
                </c:pt>
                <c:pt idx="7">
                  <c:v>5.2565894526394645E-2</c:v>
                </c:pt>
                <c:pt idx="8">
                  <c:v>7.8964049196093095E-2</c:v>
                </c:pt>
                <c:pt idx="9">
                  <c:v>0.10858238236090534</c:v>
                </c:pt>
                <c:pt idx="10">
                  <c:v>1.621735500217142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872159190005607E-7</c:v>
                </c:pt>
                <c:pt idx="2">
                  <c:v>2.2135271066913739E-3</c:v>
                </c:pt>
                <c:pt idx="3">
                  <c:v>6.6172094965712827E-5</c:v>
                </c:pt>
                <c:pt idx="4">
                  <c:v>4.7248894813796873E-3</c:v>
                </c:pt>
                <c:pt idx="5">
                  <c:v>1.8605413657029873E-2</c:v>
                </c:pt>
                <c:pt idx="6">
                  <c:v>6.4526693353509478E-3</c:v>
                </c:pt>
                <c:pt idx="7">
                  <c:v>4.309825545246255E-3</c:v>
                </c:pt>
                <c:pt idx="8">
                  <c:v>1.1538587241140381E-3</c:v>
                </c:pt>
                <c:pt idx="10">
                  <c:v>6.917807380805637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8.7565470624790579E-6</c:v>
                </c:pt>
                <c:pt idx="2">
                  <c:v>4.2633523011349402E-6</c:v>
                </c:pt>
                <c:pt idx="4">
                  <c:v>5.5903860522293286E-3</c:v>
                </c:pt>
                <c:pt idx="5">
                  <c:v>2.0296215915196892E-3</c:v>
                </c:pt>
                <c:pt idx="6">
                  <c:v>1.1919503798430578E-2</c:v>
                </c:pt>
                <c:pt idx="7">
                  <c:v>7.4942702978698797E-3</c:v>
                </c:pt>
                <c:pt idx="8">
                  <c:v>1.16863218624760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56590323336786E-2</c:v>
                </c:pt>
                <c:pt idx="1">
                  <c:v>2.5182242988042839E-2</c:v>
                </c:pt>
                <c:pt idx="2">
                  <c:v>2.1921688834085632E-2</c:v>
                </c:pt>
                <c:pt idx="3">
                  <c:v>3.2827763144875073E-2</c:v>
                </c:pt>
                <c:pt idx="4">
                  <c:v>3.1907537028206208E-2</c:v>
                </c:pt>
                <c:pt idx="5">
                  <c:v>5.8259033678482203E-2</c:v>
                </c:pt>
                <c:pt idx="6">
                  <c:v>8.4460627977552744E-2</c:v>
                </c:pt>
                <c:pt idx="7">
                  <c:v>0.1183457926274074</c:v>
                </c:pt>
                <c:pt idx="8">
                  <c:v>0.1029624097253177</c:v>
                </c:pt>
                <c:pt idx="9">
                  <c:v>3.3436899745008269E-2</c:v>
                </c:pt>
                <c:pt idx="10">
                  <c:v>1.043021929728813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32E-2</c:v>
                </c:pt>
                <c:pt idx="3">
                  <c:v>0.2707</c:v>
                </c:pt>
                <c:pt idx="4">
                  <c:v>0.31019999999999998</c:v>
                </c:pt>
                <c:pt idx="5">
                  <c:v>4.1000000000000003E-3</c:v>
                </c:pt>
                <c:pt idx="6">
                  <c:v>3.4200000000000001E-2</c:v>
                </c:pt>
                <c:pt idx="7">
                  <c:v>0.33479999999999999</c:v>
                </c:pt>
                <c:pt idx="8">
                  <c:v>1.28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687491382740963E-2</c:v>
                </c:pt>
                <c:pt idx="1">
                  <c:v>1.9844749506181529E-2</c:v>
                </c:pt>
                <c:pt idx="2">
                  <c:v>2.0650975604824384E-2</c:v>
                </c:pt>
                <c:pt idx="3">
                  <c:v>3.8112756164787195E-2</c:v>
                </c:pt>
                <c:pt idx="4">
                  <c:v>6.1780284235111782E-2</c:v>
                </c:pt>
                <c:pt idx="5">
                  <c:v>9.9232697922490468E-2</c:v>
                </c:pt>
                <c:pt idx="6">
                  <c:v>0.13318263902711563</c:v>
                </c:pt>
                <c:pt idx="7">
                  <c:v>0.17852552028295066</c:v>
                </c:pt>
                <c:pt idx="8">
                  <c:v>0.24419319081565979</c:v>
                </c:pt>
                <c:pt idx="9">
                  <c:v>9.5217018324198863E-2</c:v>
                </c:pt>
                <c:pt idx="10">
                  <c:v>9.257267673393883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407163329055978E-2</c:v>
                </c:pt>
                <c:pt idx="1">
                  <c:v>1.2044393970977332E-2</c:v>
                </c:pt>
                <c:pt idx="2">
                  <c:v>1.4302872009187801E-2</c:v>
                </c:pt>
                <c:pt idx="3">
                  <c:v>7.3534143323884416E-2</c:v>
                </c:pt>
                <c:pt idx="4">
                  <c:v>5.488923808164483E-2</c:v>
                </c:pt>
                <c:pt idx="5">
                  <c:v>0.12557448270961982</c:v>
                </c:pt>
                <c:pt idx="6">
                  <c:v>0.12102272836063067</c:v>
                </c:pt>
                <c:pt idx="7">
                  <c:v>0.18684329868097355</c:v>
                </c:pt>
                <c:pt idx="8">
                  <c:v>0.21470096608732964</c:v>
                </c:pt>
                <c:pt idx="9">
                  <c:v>0.11508403400458216</c:v>
                </c:pt>
                <c:pt idx="10">
                  <c:v>6.75966794421137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1.0806266603101361E-3</c:v>
                </c:pt>
                <c:pt idx="3">
                  <c:v>8.8075911339130387E-3</c:v>
                </c:pt>
                <c:pt idx="4">
                  <c:v>1.0092321277592933E-2</c:v>
                </c:pt>
                <c:pt idx="5">
                  <c:v>1.3308096804217381E-4</c:v>
                </c:pt>
                <c:pt idx="6">
                  <c:v>1.1127684884093261E-3</c:v>
                </c:pt>
                <c:pt idx="7">
                  <c:v>1.0893526778992831E-2</c:v>
                </c:pt>
                <c:pt idx="8">
                  <c:v>4.163430466608668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3.684982968194787E-4</c:v>
                </c:pt>
                <c:pt idx="2">
                  <c:v>3.151302124392566E-3</c:v>
                </c:pt>
                <c:pt idx="3">
                  <c:v>2.694742693425051E-2</c:v>
                </c:pt>
                <c:pt idx="4">
                  <c:v>8.6751484025290072E-3</c:v>
                </c:pt>
                <c:pt idx="5">
                  <c:v>1.3546348823737602E-2</c:v>
                </c:pt>
                <c:pt idx="6">
                  <c:v>2.6816456172096065E-2</c:v>
                </c:pt>
                <c:pt idx="7">
                  <c:v>5.3942250127717771E-2</c:v>
                </c:pt>
                <c:pt idx="8">
                  <c:v>6.9784422458986806E-2</c:v>
                </c:pt>
                <c:pt idx="9">
                  <c:v>8.2354504940840095E-2</c:v>
                </c:pt>
                <c:pt idx="10">
                  <c:v>5.306670443034391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8.0394819406596425E-5</c:v>
                </c:pt>
                <c:pt idx="1">
                  <c:v>8.287876748152487E-4</c:v>
                </c:pt>
                <c:pt idx="2">
                  <c:v>2.2554478515542491E-4</c:v>
                </c:pt>
                <c:pt idx="3">
                  <c:v>1.685169022805455E-3</c:v>
                </c:pt>
                <c:pt idx="4">
                  <c:v>5.4788822180763929E-3</c:v>
                </c:pt>
                <c:pt idx="5">
                  <c:v>2.2981251844166137E-2</c:v>
                </c:pt>
                <c:pt idx="6">
                  <c:v>4.8888295526848232E-3</c:v>
                </c:pt>
                <c:pt idx="7">
                  <c:v>1.0621741460461074E-2</c:v>
                </c:pt>
                <c:pt idx="8">
                  <c:v>7.8069970505819054E-3</c:v>
                </c:pt>
                <c:pt idx="9">
                  <c:v>1.7131709374464308E-3</c:v>
                </c:pt>
                <c:pt idx="10">
                  <c:v>1.040119332085452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219451902022576E-6</c:v>
                </c:pt>
                <c:pt idx="1">
                  <c:v>1.1839002514531685E-5</c:v>
                </c:pt>
                <c:pt idx="2">
                  <c:v>5.089678604086041E-4</c:v>
                </c:pt>
                <c:pt idx="3">
                  <c:v>1.287800579494736E-3</c:v>
                </c:pt>
                <c:pt idx="4">
                  <c:v>5.7178932217306199E-3</c:v>
                </c:pt>
                <c:pt idx="5">
                  <c:v>2.0622587900266887E-2</c:v>
                </c:pt>
                <c:pt idx="6">
                  <c:v>6.1657111104335193E-4</c:v>
                </c:pt>
                <c:pt idx="7">
                  <c:v>1.3292646877186518E-2</c:v>
                </c:pt>
                <c:pt idx="8">
                  <c:v>6.9666693670018852E-4</c:v>
                </c:pt>
                <c:pt idx="9">
                  <c:v>2.6219451902022576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32414656445918E-2</c:v>
                </c:pt>
                <c:pt idx="1">
                  <c:v>1.0835268996828074E-2</c:v>
                </c:pt>
                <c:pt idx="2">
                  <c:v>9.3364305789210705E-3</c:v>
                </c:pt>
                <c:pt idx="3">
                  <c:v>3.4806155653420684E-2</c:v>
                </c:pt>
                <c:pt idx="4">
                  <c:v>2.4924992961715881E-2</c:v>
                </c:pt>
                <c:pt idx="5">
                  <c:v>6.8291213173407014E-2</c:v>
                </c:pt>
                <c:pt idx="6">
                  <c:v>8.7588103036397094E-2</c:v>
                </c:pt>
                <c:pt idx="7">
                  <c:v>9.8093133436615354E-2</c:v>
                </c:pt>
                <c:pt idx="8">
                  <c:v>0.13599653659439989</c:v>
                </c:pt>
                <c:pt idx="9">
                  <c:v>3.1013736181105436E-2</c:v>
                </c:pt>
                <c:pt idx="10">
                  <c:v>4.128781690915337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97551613754901E-2</c:v>
                </c:pt>
                <c:pt idx="1">
                  <c:v>1.1038120023828693E-3</c:v>
                </c:pt>
                <c:pt idx="2">
                  <c:v>1.5282875797082282E-3</c:v>
                </c:pt>
                <c:pt idx="3">
                  <c:v>0.24074556770459496</c:v>
                </c:pt>
                <c:pt idx="4">
                  <c:v>0.25074804702660697</c:v>
                </c:pt>
                <c:pt idx="5">
                  <c:v>9.5015674280341245E-2</c:v>
                </c:pt>
                <c:pt idx="6">
                  <c:v>1.7766219714730622E-2</c:v>
                </c:pt>
                <c:pt idx="7">
                  <c:v>0.15861178296232292</c:v>
                </c:pt>
                <c:pt idx="8">
                  <c:v>0.2067430246170972</c:v>
                </c:pt>
                <c:pt idx="9">
                  <c:v>9.640032498460066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1334301198831354E-5</c:v>
                </c:pt>
                <c:pt idx="3">
                  <c:v>0.23922943724874743</c:v>
                </c:pt>
                <c:pt idx="4">
                  <c:v>0.24634596161734573</c:v>
                </c:pt>
                <c:pt idx="5">
                  <c:v>3.6273384136339092E-3</c:v>
                </c:pt>
                <c:pt idx="6">
                  <c:v>9.0066920487912733E-4</c:v>
                </c:pt>
                <c:pt idx="7">
                  <c:v>4.8577051613370996E-2</c:v>
                </c:pt>
                <c:pt idx="8">
                  <c:v>4.212907765016434E-2</c:v>
                </c:pt>
                <c:pt idx="9">
                  <c:v>6.20163224287161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853428595946522E-6</c:v>
                </c:pt>
                <c:pt idx="7">
                  <c:v>2.9623711605380565E-3</c:v>
                </c:pt>
                <c:pt idx="8">
                  <c:v>0.160223415395686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8.809876440111869E-2</c:v>
                </c:pt>
                <c:pt idx="6">
                  <c:v>1.389019956293585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097551613754901E-2</c:v>
                </c:pt>
                <c:pt idx="1">
                  <c:v>1.1038120023828693E-3</c:v>
                </c:pt>
                <c:pt idx="2">
                  <c:v>1.4969532785093971E-3</c:v>
                </c:pt>
                <c:pt idx="3">
                  <c:v>1.5161304558475382E-3</c:v>
                </c:pt>
                <c:pt idx="4">
                  <c:v>4.3981000664016622E-3</c:v>
                </c:pt>
                <c:pt idx="5">
                  <c:v>3.28957146558863E-3</c:v>
                </c:pt>
                <c:pt idx="6">
                  <c:v>1.6726648514222134E-2</c:v>
                </c:pt>
                <c:pt idx="7">
                  <c:v>0.10707236018841385</c:v>
                </c:pt>
                <c:pt idx="8">
                  <c:v>4.3905315712462851E-3</c:v>
                </c:pt>
                <c:pt idx="9">
                  <c:v>3.43840025558844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81E-2</c:v>
                </c:pt>
                <c:pt idx="7">
                  <c:v>0.11515289447697061</c:v>
                </c:pt>
                <c:pt idx="8">
                  <c:v>0.18021104120617157</c:v>
                </c:pt>
                <c:pt idx="9">
                  <c:v>1.54362399823364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8526375298133922E-6</c:v>
                </c:pt>
                <c:pt idx="1">
                  <c:v>4.149199193491643E-3</c:v>
                </c:pt>
                <c:pt idx="2">
                  <c:v>3.5030122747466315E-2</c:v>
                </c:pt>
                <c:pt idx="3">
                  <c:v>0.14359216493144436</c:v>
                </c:pt>
                <c:pt idx="4">
                  <c:v>0.31161910677500987</c:v>
                </c:pt>
                <c:pt idx="5">
                  <c:v>1.2019983161347771E-3</c:v>
                </c:pt>
                <c:pt idx="6">
                  <c:v>2.9343899142781579E-3</c:v>
                </c:pt>
                <c:pt idx="7">
                  <c:v>3.5483747303753276E-2</c:v>
                </c:pt>
                <c:pt idx="8">
                  <c:v>5.4894006264755053E-2</c:v>
                </c:pt>
                <c:pt idx="9">
                  <c:v>4.39018117322217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0086352684843029E-6</c:v>
                </c:pt>
                <c:pt idx="7">
                  <c:v>4.3893659301171672E-2</c:v>
                </c:pt>
                <c:pt idx="8">
                  <c:v>0.12040043964896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9428990141866858E-3</c:v>
                </c:pt>
                <c:pt idx="5">
                  <c:v>7.6898970512948056E-2</c:v>
                </c:pt>
                <c:pt idx="6">
                  <c:v>2.118923587943136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41962940407184E-2</c:v>
                </c:pt>
                <c:pt idx="1">
                  <c:v>2.9513741456325049E-4</c:v>
                </c:pt>
                <c:pt idx="2">
                  <c:v>9.8702647356404389E-4</c:v>
                </c:pt>
                <c:pt idx="3">
                  <c:v>2.0224822696756255E-3</c:v>
                </c:pt>
                <c:pt idx="4">
                  <c:v>5.1410783045854995E-3</c:v>
                </c:pt>
                <c:pt idx="5">
                  <c:v>4.9460022758870013E-3</c:v>
                </c:pt>
                <c:pt idx="6">
                  <c:v>5.3900186098649272E-2</c:v>
                </c:pt>
                <c:pt idx="7">
                  <c:v>3.5775487872045653E-2</c:v>
                </c:pt>
                <c:pt idx="8">
                  <c:v>4.9165952924563319E-3</c:v>
                </c:pt>
                <c:pt idx="9">
                  <c:v>1.10460588091142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31651380679903E-3</c:v>
                </c:pt>
                <c:pt idx="3">
                  <c:v>0.38021225596049668</c:v>
                </c:pt>
                <c:pt idx="4">
                  <c:v>0.10773548689713384</c:v>
                </c:pt>
                <c:pt idx="5">
                  <c:v>0.11240208748273982</c:v>
                </c:pt>
                <c:pt idx="6">
                  <c:v>5.7039334901111492E-3</c:v>
                </c:pt>
                <c:pt idx="7">
                  <c:v>0.18405881254330331</c:v>
                </c:pt>
                <c:pt idx="8">
                  <c:v>0.2011401678119552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3.6120866383027601E-3</c:v>
                </c:pt>
                <c:pt idx="3">
                  <c:v>7.1966466151049933E-4</c:v>
                </c:pt>
                <c:pt idx="4">
                  <c:v>1.0448012569199275E-3</c:v>
                </c:pt>
                <c:pt idx="5">
                  <c:v>2.7872097279732009E-3</c:v>
                </c:pt>
                <c:pt idx="6">
                  <c:v>3.0993622230835529E-4</c:v>
                </c:pt>
                <c:pt idx="7">
                  <c:v>6.7788154087654517E-3</c:v>
                </c:pt>
                <c:pt idx="8">
                  <c:v>7.258742982568703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4528746413826233E-4</c:v>
                </c:pt>
                <c:pt idx="1">
                  <c:v>2.5300982603143783E-3</c:v>
                </c:pt>
                <c:pt idx="2">
                  <c:v>3.0223198466995805E-3</c:v>
                </c:pt>
                <c:pt idx="3">
                  <c:v>4.7070176191105692E-3</c:v>
                </c:pt>
                <c:pt idx="4">
                  <c:v>1.9775029129540076E-2</c:v>
                </c:pt>
                <c:pt idx="5">
                  <c:v>1.4497321263915357E-2</c:v>
                </c:pt>
                <c:pt idx="6">
                  <c:v>3.3392414012350054E-2</c:v>
                </c:pt>
                <c:pt idx="7">
                  <c:v>5.5172133359177762E-2</c:v>
                </c:pt>
                <c:pt idx="8">
                  <c:v>0.1211944651755948</c:v>
                </c:pt>
                <c:pt idx="9">
                  <c:v>6.6530896493537356E-2</c:v>
                </c:pt>
                <c:pt idx="10">
                  <c:v>7.782081607763105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2178564380367223E-4</c:v>
                </c:pt>
                <c:pt idx="3">
                  <c:v>3.0438478169752858E-4</c:v>
                </c:pt>
                <c:pt idx="4">
                  <c:v>9.0721713161539218E-4</c:v>
                </c:pt>
                <c:pt idx="5">
                  <c:v>2.0921409300394236E-2</c:v>
                </c:pt>
                <c:pt idx="6">
                  <c:v>9.7251134096916873E-3</c:v>
                </c:pt>
                <c:pt idx="7">
                  <c:v>2.4503085970832708E-3</c:v>
                </c:pt>
                <c:pt idx="8">
                  <c:v>1.1352227281314876E-3</c:v>
                </c:pt>
                <c:pt idx="10">
                  <c:v>7.4710832805172879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5.6577971142234606E-5</c:v>
                </c:pt>
                <c:pt idx="4">
                  <c:v>5.505870230397265E-3</c:v>
                </c:pt>
                <c:pt idx="5">
                  <c:v>5.1641308007689953E-7</c:v>
                </c:pt>
                <c:pt idx="6">
                  <c:v>1.2545607958702642E-2</c:v>
                </c:pt>
                <c:pt idx="7">
                  <c:v>2.8553270723452491E-3</c:v>
                </c:pt>
                <c:pt idx="8">
                  <c:v>1.64415765498689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285625947460466E-2</c:v>
                </c:pt>
                <c:pt idx="1">
                  <c:v>1.731465124586715E-2</c:v>
                </c:pt>
                <c:pt idx="2">
                  <c:v>1.329478347601837E-2</c:v>
                </c:pt>
                <c:pt idx="3">
                  <c:v>3.2381689102468594E-2</c:v>
                </c:pt>
                <c:pt idx="4">
                  <c:v>3.4547366486639121E-2</c:v>
                </c:pt>
                <c:pt idx="5">
                  <c:v>6.1026241217127596E-2</c:v>
                </c:pt>
                <c:pt idx="6">
                  <c:v>7.7209567424062889E-2</c:v>
                </c:pt>
                <c:pt idx="7">
                  <c:v>0.11126893584557887</c:v>
                </c:pt>
                <c:pt idx="8">
                  <c:v>9.8163183379495839E-2</c:v>
                </c:pt>
                <c:pt idx="9">
                  <c:v>2.86861218306615E-2</c:v>
                </c:pt>
                <c:pt idx="10">
                  <c:v>1.4744389573027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3435823860633241E-3</c:v>
                </c:pt>
                <c:pt idx="3">
                  <c:v>0.38001590936473439</c:v>
                </c:pt>
                <c:pt idx="4">
                  <c:v>0.10724137624689321</c:v>
                </c:pt>
                <c:pt idx="7">
                  <c:v>3.8468460617734138E-2</c:v>
                </c:pt>
                <c:pt idx="8">
                  <c:v>4.210651248817253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8676389366778733E-5</c:v>
                </c:pt>
                <c:pt idx="7">
                  <c:v>4.1238774330083286E-3</c:v>
                </c:pt>
                <c:pt idx="8">
                  <c:v>0.139533254095952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0.11240208748273982</c:v>
                </c:pt>
                <c:pt idx="6">
                  <c:v>5.192753562862204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9.5827520046668004E-6</c:v>
                </c:pt>
                <c:pt idx="3">
                  <c:v>1.9634659576228745E-4</c:v>
                </c:pt>
                <c:pt idx="4">
                  <c:v>4.9411065024063193E-4</c:v>
                </c:pt>
                <c:pt idx="6">
                  <c:v>4.4250353788216591E-4</c:v>
                </c:pt>
                <c:pt idx="7">
                  <c:v>0.14146647449256083</c:v>
                </c:pt>
                <c:pt idx="8">
                  <c:v>1.9500401227830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9">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369975056001314E-3</c:v>
                </c:pt>
                <c:pt idx="2">
                  <c:v>4.4690603279236144E-2</c:v>
                </c:pt>
                <c:pt idx="3">
                  <c:v>7.7853908432242444E-3</c:v>
                </c:pt>
                <c:pt idx="4">
                  <c:v>5.3968870489838842E-3</c:v>
                </c:pt>
                <c:pt idx="5">
                  <c:v>1.5186923790371032E-2</c:v>
                </c:pt>
                <c:pt idx="6">
                  <c:v>6.7983065975468271E-2</c:v>
                </c:pt>
                <c:pt idx="7">
                  <c:v>0.17035517494191399</c:v>
                </c:pt>
                <c:pt idx="8">
                  <c:v>0.26971004523275183</c:v>
                </c:pt>
                <c:pt idx="9">
                  <c:v>0.19172318249558798</c:v>
                </c:pt>
                <c:pt idx="10">
                  <c:v>0.2219317288868625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9">
                  <c:v>5.780621953104888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8">
                  <c:v>0.24939152804345749</c:v>
                </c:pt>
                <c:pt idx="10">
                  <c:v>0.2219317288868625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3367546825805143E-2</c:v>
                </c:pt>
                <c:pt idx="7">
                  <c:v>9.2813174111226304E-2</c:v>
                </c:pt>
                <c:pt idx="9">
                  <c:v>0.1917174018736348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1232577420669265E-3</c:v>
                </c:pt>
                <c:pt idx="2">
                  <c:v>3.0404472577897877E-2</c:v>
                </c:pt>
                <c:pt idx="3">
                  <c:v>5.8615506604483576E-3</c:v>
                </c:pt>
                <c:pt idx="4">
                  <c:v>8.8566507838953846E-4</c:v>
                </c:pt>
                <c:pt idx="5">
                  <c:v>5.0086014424742635E-3</c:v>
                </c:pt>
                <c:pt idx="6">
                  <c:v>4.3815884484970568E-3</c:v>
                </c:pt>
                <c:pt idx="7">
                  <c:v>3.8275096846941307E-4</c:v>
                </c:pt>
                <c:pt idx="8">
                  <c:v>4.423528705646179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1137397635332049E-3</c:v>
                </c:pt>
                <c:pt idx="2">
                  <c:v>1.4286130701338263E-2</c:v>
                </c:pt>
                <c:pt idx="3">
                  <c:v>1.9238401827758867E-3</c:v>
                </c:pt>
                <c:pt idx="4">
                  <c:v>4.5112219705943455E-3</c:v>
                </c:pt>
                <c:pt idx="5">
                  <c:v>1.0178322347896769E-2</c:v>
                </c:pt>
                <c:pt idx="6">
                  <c:v>2.3393070116607445E-4</c:v>
                </c:pt>
                <c:pt idx="7">
                  <c:v>7.7159249862218254E-2</c:v>
                </c:pt>
                <c:pt idx="8">
                  <c:v>1.589498848364815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916582284430348E-3</c:v>
                </c:pt>
                <c:pt idx="2">
                  <c:v>3.9469355283623969E-2</c:v>
                </c:pt>
                <c:pt idx="3">
                  <c:v>1.2088662743128498E-2</c:v>
                </c:pt>
                <c:pt idx="4">
                  <c:v>7.0793722896692265E-3</c:v>
                </c:pt>
                <c:pt idx="5">
                  <c:v>1.3690961450585395E-2</c:v>
                </c:pt>
                <c:pt idx="6">
                  <c:v>7.0728144672698209E-2</c:v>
                </c:pt>
                <c:pt idx="7">
                  <c:v>0.1685900484983571</c:v>
                </c:pt>
                <c:pt idx="8">
                  <c:v>0.27547271072325769</c:v>
                </c:pt>
                <c:pt idx="9">
                  <c:v>0.18549766489847433</c:v>
                </c:pt>
                <c:pt idx="10">
                  <c:v>0.2220174765351763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10">
                  <c:v>5.782695173959465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5.6596591064284131E-6</c:v>
                </c:pt>
                <c:pt idx="8">
                  <c:v>0.24946682320135419</c:v>
                </c:pt>
                <c:pt idx="10">
                  <c:v>0.2220116938400024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3479971819819092E-4</c:v>
                </c:pt>
                <c:pt idx="6">
                  <c:v>6.3755690725713479E-2</c:v>
                </c:pt>
                <c:pt idx="7">
                  <c:v>9.1645137405449856E-2</c:v>
                </c:pt>
                <c:pt idx="8">
                  <c:v>6.2878812672419668E-3</c:v>
                </c:pt>
                <c:pt idx="9">
                  <c:v>0.185497664898474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2043513427787301E-3</c:v>
                </c:pt>
                <c:pt idx="2">
                  <c:v>2.4718684183393624E-2</c:v>
                </c:pt>
                <c:pt idx="3">
                  <c:v>1.0682360491248568E-2</c:v>
                </c:pt>
                <c:pt idx="4">
                  <c:v>2.0022889630003475E-3</c:v>
                </c:pt>
                <c:pt idx="5">
                  <c:v>3.8732984419450624E-3</c:v>
                </c:pt>
                <c:pt idx="6">
                  <c:v>5.0206097716721269E-3</c:v>
                </c:pt>
                <c:pt idx="7">
                  <c:v>5.1330647373955089E-4</c:v>
                </c:pt>
                <c:pt idx="8">
                  <c:v>4.424376988416646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0873068856643051E-3</c:v>
                </c:pt>
                <c:pt idx="2">
                  <c:v>1.4750671100230348E-2</c:v>
                </c:pt>
                <c:pt idx="3">
                  <c:v>1.4063022518799296E-3</c:v>
                </c:pt>
                <c:pt idx="4">
                  <c:v>5.077083326668879E-3</c:v>
                </c:pt>
                <c:pt idx="5">
                  <c:v>8.9828632904421415E-3</c:v>
                </c:pt>
                <c:pt idx="6">
                  <c:v>1.9461845162061877E-3</c:v>
                </c:pt>
                <c:pt idx="7">
                  <c:v>7.643160461916769E-2</c:v>
                </c:pt>
                <c:pt idx="8">
                  <c:v>1.529362926624488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6889999999999997</c:v>
                </c:pt>
                <c:pt idx="4">
                  <c:v>0.14979999999999999</c:v>
                </c:pt>
                <c:pt idx="5">
                  <c:v>0.15809999999999999</c:v>
                </c:pt>
                <c:pt idx="6">
                  <c:v>8.5999999999999993E-2</c:v>
                </c:pt>
                <c:pt idx="7">
                  <c:v>0.26860000000000001</c:v>
                </c:pt>
                <c:pt idx="8">
                  <c:v>6.8000000000000005E-2</c:v>
                </c:pt>
                <c:pt idx="9">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2.5516269030972075E-7</c:v>
                </c:pt>
                <c:pt idx="3">
                  <c:v>7.015941668175954E-2</c:v>
                </c:pt>
                <c:pt idx="4">
                  <c:v>3.9081359199743898E-2</c:v>
                </c:pt>
                <c:pt idx="5">
                  <c:v>4.124769773083601E-2</c:v>
                </c:pt>
                <c:pt idx="6">
                  <c:v>2.2447565871506092E-2</c:v>
                </c:pt>
                <c:pt idx="7">
                  <c:v>7.0072880077931637E-2</c:v>
                </c:pt>
                <c:pt idx="8">
                  <c:v>1.7753607601293627E-2</c:v>
                </c:pt>
                <c:pt idx="9">
                  <c:v>1.309494926669487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09750398471171E-2</c:v>
                </c:pt>
                <c:pt idx="1">
                  <c:v>2.2345770538797674E-2</c:v>
                </c:pt>
                <c:pt idx="2">
                  <c:v>2.2673027624663761E-5</c:v>
                </c:pt>
                <c:pt idx="3">
                  <c:v>3.8211269006512912E-3</c:v>
                </c:pt>
                <c:pt idx="4">
                  <c:v>0.11408516349319735</c:v>
                </c:pt>
                <c:pt idx="5">
                  <c:v>1.9640236791268222E-5</c:v>
                </c:pt>
                <c:pt idx="6">
                  <c:v>2.5733055252659218E-2</c:v>
                </c:pt>
                <c:pt idx="7">
                  <c:v>7.3872398343894988E-2</c:v>
                </c:pt>
                <c:pt idx="8">
                  <c:v>3.6807582595306237E-3</c:v>
                </c:pt>
                <c:pt idx="10">
                  <c:v>3.470358395463808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4267255754208456E-2</c:v>
                </c:pt>
                <c:pt idx="3">
                  <c:v>6.8273370720791371E-3</c:v>
                </c:pt>
                <c:pt idx="4">
                  <c:v>9.9118530279817454E-3</c:v>
                </c:pt>
                <c:pt idx="5">
                  <c:v>2.6441787850900917E-2</c:v>
                </c:pt>
                <c:pt idx="6">
                  <c:v>1.4726532412161027E-6</c:v>
                </c:pt>
                <c:pt idx="7">
                  <c:v>6.4171820023489701E-2</c:v>
                </c:pt>
                <c:pt idx="8">
                  <c:v>6.276456862498126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4488502073914959E-3</c:v>
                </c:pt>
                <c:pt idx="5">
                  <c:v>8.9437949423969865E-3</c:v>
                </c:pt>
                <c:pt idx="6">
                  <c:v>5.4633029429465921E-3</c:v>
                </c:pt>
                <c:pt idx="7">
                  <c:v>5.6927277372029003E-2</c:v>
                </c:pt>
                <c:pt idx="8">
                  <c:v>4.2365689413246761E-2</c:v>
                </c:pt>
                <c:pt idx="9">
                  <c:v>4.2318673864966551E-2</c:v>
                </c:pt>
                <c:pt idx="10">
                  <c:v>3.529876915569195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6658320513777511E-6</c:v>
                </c:pt>
                <c:pt idx="4">
                  <c:v>8.9234037982599497E-6</c:v>
                </c:pt>
                <c:pt idx="5">
                  <c:v>4.4368986275593533E-2</c:v>
                </c:pt>
                <c:pt idx="6">
                  <c:v>1.4733924839817428E-2</c:v>
                </c:pt>
                <c:pt idx="7">
                  <c:v>1.1988862746377713E-2</c:v>
                </c:pt>
                <c:pt idx="8">
                  <c:v>3.8735453366397464E-2</c:v>
                </c:pt>
                <c:pt idx="9">
                  <c:v>2.445187609425152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152</c:v>
                </c:pt>
                <c:pt idx="3">
                  <c:v>0.1321</c:v>
                </c:pt>
                <c:pt idx="4">
                  <c:v>7.0199999999999999E-2</c:v>
                </c:pt>
                <c:pt idx="5">
                  <c:v>8.6300000000000002E-2</c:v>
                </c:pt>
                <c:pt idx="6">
                  <c:v>9.5299999999999996E-2</c:v>
                </c:pt>
                <c:pt idx="7">
                  <c:v>0.22919999999999999</c:v>
                </c:pt>
                <c:pt idx="8">
                  <c:v>0.271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414</c:v>
                </c:pt>
                <c:pt idx="4">
                  <c:v>0.26279999999999998</c:v>
                </c:pt>
                <c:pt idx="5">
                  <c:v>0.1242</c:v>
                </c:pt>
                <c:pt idx="6">
                  <c:v>0.1134</c:v>
                </c:pt>
                <c:pt idx="7">
                  <c:v>0.14369999999999999</c:v>
                </c:pt>
                <c:pt idx="8">
                  <c:v>6.4399999999999999E-2</c:v>
                </c:pt>
                <c:pt idx="9">
                  <c:v>4.97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198E-2</c:v>
                </c:pt>
                <c:pt idx="6">
                  <c:v>9.5739273110062556E-2</c:v>
                </c:pt>
                <c:pt idx="7">
                  <c:v>0.19579893844579263</c:v>
                </c:pt>
                <c:pt idx="8">
                  <c:v>0.18662621492811068</c:v>
                </c:pt>
                <c:pt idx="9">
                  <c:v>2.0947871253378533E-2</c:v>
                </c:pt>
                <c:pt idx="10">
                  <c:v>1.132557983074297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9131908028297804E-6</c:v>
                </c:pt>
                <c:pt idx="1">
                  <c:v>2.0055227548059046E-5</c:v>
                </c:pt>
                <c:pt idx="2">
                  <c:v>3.1137291430285486E-5</c:v>
                </c:pt>
                <c:pt idx="3">
                  <c:v>6.7302200976453883E-2</c:v>
                </c:pt>
                <c:pt idx="4">
                  <c:v>7.3258272750350337E-2</c:v>
                </c:pt>
                <c:pt idx="5">
                  <c:v>3.46323593536196E-2</c:v>
                </c:pt>
                <c:pt idx="6">
                  <c:v>3.1598520312906206E-2</c:v>
                </c:pt>
                <c:pt idx="7">
                  <c:v>4.0062529304925924E-2</c:v>
                </c:pt>
                <c:pt idx="8">
                  <c:v>1.7947940020065979E-2</c:v>
                </c:pt>
                <c:pt idx="9">
                  <c:v>1.3892483552955994E-2</c:v>
                </c:pt>
                <c:pt idx="10">
                  <c:v>1.2405295390551985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6797620962071183E-2</c:v>
                </c:pt>
                <c:pt idx="1">
                  <c:v>4.5384731835349808E-2</c:v>
                </c:pt>
                <c:pt idx="2">
                  <c:v>6.2928341927653061E-3</c:v>
                </c:pt>
                <c:pt idx="3">
                  <c:v>8.6582345668511241E-3</c:v>
                </c:pt>
                <c:pt idx="4">
                  <c:v>7.5227530691631198E-2</c:v>
                </c:pt>
                <c:pt idx="5">
                  <c:v>5.5666695515870282E-4</c:v>
                </c:pt>
                <c:pt idx="6">
                  <c:v>9.3927521069257069E-3</c:v>
                </c:pt>
                <c:pt idx="7">
                  <c:v>4.3276493234710132E-2</c:v>
                </c:pt>
                <c:pt idx="8">
                  <c:v>4.9627715017780301E-2</c:v>
                </c:pt>
                <c:pt idx="10">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9434962778531443E-6</c:v>
                </c:pt>
                <c:pt idx="1">
                  <c:v>2.2329531702993578E-6</c:v>
                </c:pt>
                <c:pt idx="2">
                  <c:v>2.7770080751443327E-2</c:v>
                </c:pt>
                <c:pt idx="3">
                  <c:v>3.1861967436016901E-2</c:v>
                </c:pt>
                <c:pt idx="4">
                  <c:v>1.691900346938896E-2</c:v>
                </c:pt>
                <c:pt idx="5">
                  <c:v>2.0802357138447355E-2</c:v>
                </c:pt>
                <c:pt idx="6">
                  <c:v>1.7400080824634567E-2</c:v>
                </c:pt>
                <c:pt idx="7">
                  <c:v>5.1980627394506297E-2</c:v>
                </c:pt>
                <c:pt idx="8">
                  <c:v>6.171832941525862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8649087315539978E-2</c:v>
                </c:pt>
                <c:pt idx="6">
                  <c:v>8.1119053578512148E-3</c:v>
                </c:pt>
                <c:pt idx="7">
                  <c:v>2.9251355723044502E-2</c:v>
                </c:pt>
                <c:pt idx="8">
                  <c:v>2.9765183058121165E-2</c:v>
                </c:pt>
                <c:pt idx="9">
                  <c:v>7.0543952767912928E-3</c:v>
                </c:pt>
                <c:pt idx="10">
                  <c:v>1.07514214090835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2.9644520884955728E-4</c:v>
                </c:pt>
                <c:pt idx="4">
                  <c:v>1.9848472624883176E-6</c:v>
                </c:pt>
                <c:pt idx="5">
                  <c:v>2.5089461821483583E-2</c:v>
                </c:pt>
                <c:pt idx="6">
                  <c:v>2.9236014507744851E-2</c:v>
                </c:pt>
                <c:pt idx="7">
                  <c:v>3.1227932788605785E-2</c:v>
                </c:pt>
                <c:pt idx="8">
                  <c:v>2.7567047416884625E-2</c:v>
                </c:pt>
                <c:pt idx="9">
                  <c:v>9.9242363124415881E-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32E-2</c:v>
                </c:pt>
                <c:pt idx="3">
                  <c:v>0.2707</c:v>
                </c:pt>
                <c:pt idx="4">
                  <c:v>0.31019999999999998</c:v>
                </c:pt>
                <c:pt idx="5">
                  <c:v>4.1000000000000003E-3</c:v>
                </c:pt>
                <c:pt idx="6">
                  <c:v>3.4200000000000001E-2</c:v>
                </c:pt>
                <c:pt idx="7">
                  <c:v>0.33479999999999999</c:v>
                </c:pt>
                <c:pt idx="8">
                  <c:v>1.28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9.6249555725583351E-3</c:v>
                </c:pt>
                <c:pt idx="3">
                  <c:v>7.8447697506224962E-2</c:v>
                </c:pt>
                <c:pt idx="4">
                  <c:v>8.9890567657232176E-2</c:v>
                </c:pt>
                <c:pt idx="5">
                  <c:v>1.1853292649575801E-3</c:v>
                </c:pt>
                <c:pt idx="6">
                  <c:v>9.9112373004093986E-3</c:v>
                </c:pt>
                <c:pt idx="7">
                  <c:v>9.702676708548813E-2</c:v>
                </c:pt>
                <c:pt idx="8">
                  <c:v>3.70829581967221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8598817385034079E-6</c:v>
                </c:pt>
                <c:pt idx="3">
                  <c:v>0.14632611944349699</c:v>
                </c:pt>
                <c:pt idx="4">
                  <c:v>1.0608453658721453E-2</c:v>
                </c:pt>
                <c:pt idx="5">
                  <c:v>1.7975829423206335E-5</c:v>
                </c:pt>
                <c:pt idx="6">
                  <c:v>6.4528618442279151E-6</c:v>
                </c:pt>
                <c:pt idx="7">
                  <c:v>2.055856176976394E-2</c:v>
                </c:pt>
                <c:pt idx="8">
                  <c:v>6.34367532476843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1.4851824879572185E-6</c:v>
                </c:pt>
                <c:pt idx="6">
                  <c:v>1.3315429202375063E-6</c:v>
                </c:pt>
                <c:pt idx="7">
                  <c:v>4.3669281612109256E-2</c:v>
                </c:pt>
                <c:pt idx="8">
                  <c:v>1.3213002823895256E-5</c:v>
                </c:pt>
                <c:pt idx="9">
                  <c:v>8.214544340891376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3.8897799983816629E-2</c:v>
                </c:pt>
                <c:pt idx="2">
                  <c:v>8.0035460012229716E-3</c:v>
                </c:pt>
                <c:pt idx="4">
                  <c:v>7.4648344636084199E-4</c:v>
                </c:pt>
                <c:pt idx="5">
                  <c:v>5.2241447653462884E-2</c:v>
                </c:pt>
                <c:pt idx="6">
                  <c:v>7.6509944064954713E-3</c:v>
                </c:pt>
                <c:pt idx="7">
                  <c:v>6.4911846737361348E-2</c:v>
                </c:pt>
                <c:pt idx="8">
                  <c:v>6.171455611992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4">
                  <c:v>9.5884917818195217E-3</c:v>
                </c:pt>
                <c:pt idx="5">
                  <c:v>5.6348233298610793E-2</c:v>
                </c:pt>
                <c:pt idx="6">
                  <c:v>4.6860068154512241E-5</c:v>
                </c:pt>
                <c:pt idx="7">
                  <c:v>3.1574467562078068E-3</c:v>
                </c:pt>
                <c:pt idx="8">
                  <c:v>3.96594425341924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445260241806E-2</c:v>
                </c:pt>
                <c:pt idx="2">
                  <c:v>7.6663425080420455E-3</c:v>
                </c:pt>
                <c:pt idx="3">
                  <c:v>5.7978765788628567E-2</c:v>
                </c:pt>
                <c:pt idx="4">
                  <c:v>2.3980990241791268E-2</c:v>
                </c:pt>
                <c:pt idx="5">
                  <c:v>2.1307474066270562E-2</c:v>
                </c:pt>
                <c:pt idx="6">
                  <c:v>0.18064157338881034</c:v>
                </c:pt>
                <c:pt idx="7">
                  <c:v>0.14442246881480475</c:v>
                </c:pt>
                <c:pt idx="8">
                  <c:v>0.30330573706980096</c:v>
                </c:pt>
                <c:pt idx="9">
                  <c:v>0.14396439387256088</c:v>
                </c:pt>
                <c:pt idx="10">
                  <c:v>0.1040218862058693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1.1275926362546224E-2</c:v>
                </c:pt>
                <c:pt idx="2">
                  <c:v>4.8657953197085244E-3</c:v>
                </c:pt>
                <c:pt idx="3">
                  <c:v>4.2149154401220919E-2</c:v>
                </c:pt>
                <c:pt idx="4">
                  <c:v>2.2483264789837858E-2</c:v>
                </c:pt>
                <c:pt idx="6">
                  <c:v>9.4448161682550907E-2</c:v>
                </c:pt>
                <c:pt idx="7">
                  <c:v>1.973482085823482E-2</c:v>
                </c:pt>
                <c:pt idx="8">
                  <c:v>0.101159222505887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5.3197161916266004E-3</c:v>
                </c:pt>
                <c:pt idx="7">
                  <c:v>6.4896763399019636E-4</c:v>
                </c:pt>
                <c:pt idx="8">
                  <c:v>2.0839242822610453E-2</c:v>
                </c:pt>
                <c:pt idx="9">
                  <c:v>6.557852873425947E-2</c:v>
                </c:pt>
                <c:pt idx="10">
                  <c:v>9.99573172134958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0286759823200477E-3</c:v>
                </c:pt>
                <c:pt idx="6">
                  <c:v>4.0806703062807497E-3</c:v>
                </c:pt>
                <c:pt idx="7">
                  <c:v>4.8291170530388838E-2</c:v>
                </c:pt>
                <c:pt idx="8">
                  <c:v>4.2742425450430249E-2</c:v>
                </c:pt>
                <c:pt idx="9">
                  <c:v>1.0375477261769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2985188976955815E-3</c:v>
                </c:pt>
                <c:pt idx="2">
                  <c:v>2.8005471883335211E-3</c:v>
                </c:pt>
                <c:pt idx="3">
                  <c:v>1.5829611387407648E-2</c:v>
                </c:pt>
                <c:pt idx="4">
                  <c:v>1.4977254519534103E-3</c:v>
                </c:pt>
                <c:pt idx="5">
                  <c:v>2.0278798083950514E-2</c:v>
                </c:pt>
                <c:pt idx="6">
                  <c:v>7.6793025208352086E-2</c:v>
                </c:pt>
                <c:pt idx="7">
                  <c:v>7.5747509792190859E-2</c:v>
                </c:pt>
                <c:pt idx="8">
                  <c:v>0.13856484629087237</c:v>
                </c:pt>
                <c:pt idx="9">
                  <c:v>6.8010387876532283E-2</c:v>
                </c:pt>
                <c:pt idx="10">
                  <c:v>4.064568992373481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3E-2</c:v>
                </c:pt>
                <c:pt idx="1">
                  <c:v>2.6808770478219595E-2</c:v>
                </c:pt>
                <c:pt idx="2">
                  <c:v>3.3618921453349208E-2</c:v>
                </c:pt>
                <c:pt idx="3">
                  <c:v>4.3193698660743143E-2</c:v>
                </c:pt>
                <c:pt idx="4">
                  <c:v>6.0866470201537952E-2</c:v>
                </c:pt>
                <c:pt idx="5">
                  <c:v>0.11629275414523582</c:v>
                </c:pt>
                <c:pt idx="6">
                  <c:v>0.14114999538782796</c:v>
                </c:pt>
                <c:pt idx="7">
                  <c:v>0.18708207317322248</c:v>
                </c:pt>
                <c:pt idx="8">
                  <c:v>0.19672272953911321</c:v>
                </c:pt>
                <c:pt idx="9">
                  <c:v>0.14353338057932882</c:v>
                </c:pt>
                <c:pt idx="10">
                  <c:v>2.66545056269850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52E-2</c:v>
                </c:pt>
                <c:pt idx="2">
                  <c:v>4.4503254509310457E-3</c:v>
                </c:pt>
                <c:pt idx="3">
                  <c:v>6.4716249229014158E-2</c:v>
                </c:pt>
                <c:pt idx="4">
                  <c:v>2.4844439046991046E-2</c:v>
                </c:pt>
                <c:pt idx="5">
                  <c:v>6.5073631970893664E-2</c:v>
                </c:pt>
                <c:pt idx="6">
                  <c:v>0.12226394010157356</c:v>
                </c:pt>
                <c:pt idx="7">
                  <c:v>0.24437305930213674</c:v>
                </c:pt>
                <c:pt idx="8">
                  <c:v>0.24572902336939234</c:v>
                </c:pt>
                <c:pt idx="9">
                  <c:v>0.15850126894474115</c:v>
                </c:pt>
                <c:pt idx="10">
                  <c:v>4.243778455336496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2.0651530316272263E-2</c:v>
                </c:pt>
                <c:pt idx="2">
                  <c:v>1.5243385401751135E-3</c:v>
                </c:pt>
                <c:pt idx="3">
                  <c:v>4.4125305402096381E-2</c:v>
                </c:pt>
                <c:pt idx="4">
                  <c:v>2.1155372551616352E-2</c:v>
                </c:pt>
                <c:pt idx="5">
                  <c:v>2.8571873614088271E-2</c:v>
                </c:pt>
                <c:pt idx="6">
                  <c:v>5.0025323601643933E-2</c:v>
                </c:pt>
                <c:pt idx="7">
                  <c:v>7.3200178367703553E-2</c:v>
                </c:pt>
                <c:pt idx="8">
                  <c:v>5.78320124444716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7">
                  <c:v>8.6061472933415747E-3</c:v>
                </c:pt>
                <c:pt idx="8">
                  <c:v>1.6702687025974779E-2</c:v>
                </c:pt>
                <c:pt idx="9">
                  <c:v>6.726550078526429E-2</c:v>
                </c:pt>
                <c:pt idx="10">
                  <c:v>3.709366509420507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rre Fra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3829958909750677E-7</c:v>
                </c:pt>
                <c:pt idx="6">
                  <c:v>3.6097005543950355E-3</c:v>
                </c:pt>
                <c:pt idx="7">
                  <c:v>4.4859726936658767E-2</c:v>
                </c:pt>
                <c:pt idx="8">
                  <c:v>2.57723529924634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6.8540278282477884E-3</c:v>
                </c:pt>
                <c:pt idx="2">
                  <c:v>2.9259869107559327E-3</c:v>
                </c:pt>
                <c:pt idx="3">
                  <c:v>2.0590943826917785E-2</c:v>
                </c:pt>
                <c:pt idx="4">
                  <c:v>3.6890664953746922E-3</c:v>
                </c:pt>
                <c:pt idx="5">
                  <c:v>3.6501320057216305E-2</c:v>
                </c:pt>
                <c:pt idx="6">
                  <c:v>6.8628915945534608E-2</c:v>
                </c:pt>
                <c:pt idx="7">
                  <c:v>0.11770700670443281</c:v>
                </c:pt>
                <c:pt idx="8">
                  <c:v>0.14542197090648246</c:v>
                </c:pt>
                <c:pt idx="9">
                  <c:v>9.1235768159476857E-2</c:v>
                </c:pt>
                <c:pt idx="10">
                  <c:v>5.34411945915988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36752523768597E-3</c:v>
                </c:pt>
                <c:pt idx="2">
                  <c:v>4.2520320660761161E-3</c:v>
                </c:pt>
                <c:pt idx="3">
                  <c:v>8.4944165828123794E-2</c:v>
                </c:pt>
                <c:pt idx="4">
                  <c:v>2.7677276536064312E-2</c:v>
                </c:pt>
                <c:pt idx="5">
                  <c:v>0.10953939421161026</c:v>
                </c:pt>
                <c:pt idx="6">
                  <c:v>0.12398962027820842</c:v>
                </c:pt>
                <c:pt idx="7">
                  <c:v>0.12106155214187639</c:v>
                </c:pt>
                <c:pt idx="8">
                  <c:v>0.3262023710047276</c:v>
                </c:pt>
                <c:pt idx="9">
                  <c:v>0.10121561452946574</c:v>
                </c:pt>
                <c:pt idx="10">
                  <c:v>9.50555590826723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5.9393624131633136E-3</c:v>
                </c:pt>
                <c:pt idx="2">
                  <c:v>3.4217133814501135E-3</c:v>
                </c:pt>
                <c:pt idx="3">
                  <c:v>7.5558495193670958E-2</c:v>
                </c:pt>
                <c:pt idx="4">
                  <c:v>2.5939862857929714E-2</c:v>
                </c:pt>
                <c:pt idx="5">
                  <c:v>7.0621965033675502E-2</c:v>
                </c:pt>
                <c:pt idx="6">
                  <c:v>2.4278526109345784E-2</c:v>
                </c:pt>
                <c:pt idx="7">
                  <c:v>2.7375105810264758E-2</c:v>
                </c:pt>
                <c:pt idx="8">
                  <c:v>0.101702848797374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1.9978081451737427E-2</c:v>
                </c:pt>
                <c:pt idx="9">
                  <c:v>3.3012064371184549E-2</c:v>
                </c:pt>
                <c:pt idx="10">
                  <c:v>8.99118960772046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3.7972412282872832E-4</c:v>
                </c:pt>
                <c:pt idx="5">
                  <c:v>2.9629555086729643E-2</c:v>
                </c:pt>
                <c:pt idx="6">
                  <c:v>4.0721750145490329E-3</c:v>
                </c:pt>
                <c:pt idx="7">
                  <c:v>2.1327844707948126E-2</c:v>
                </c:pt>
                <c:pt idx="8">
                  <c:v>6.9933581499023234E-2</c:v>
                </c:pt>
                <c:pt idx="9">
                  <c:v>9.431985087989302E-3</c:v>
                </c:pt>
                <c:pt idx="10">
                  <c:v>4.0408583622416603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4.3128392135463874E-6</c:v>
                </c:pt>
                <c:pt idx="2">
                  <c:v>8.3031868462600262E-4</c:v>
                </c:pt>
                <c:pt idx="3">
                  <c:v>9.3856706344528397E-3</c:v>
                </c:pt>
                <c:pt idx="4">
                  <c:v>1.3576895553058684E-3</c:v>
                </c:pt>
                <c:pt idx="5">
                  <c:v>9.2878740912051248E-3</c:v>
                </c:pt>
                <c:pt idx="6">
                  <c:v>9.563891915431362E-2</c:v>
                </c:pt>
                <c:pt idx="7">
                  <c:v>7.2358601623663518E-2</c:v>
                </c:pt>
                <c:pt idx="8">
                  <c:v>0.13458785925659242</c:v>
                </c:pt>
                <c:pt idx="9">
                  <c:v>5.8771565070291895E-2</c:v>
                </c:pt>
                <c:pt idx="10">
                  <c:v>5.139622147105428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440326896023386E-3</c:v>
                </c:pt>
                <c:pt idx="1">
                  <c:v>1.6414059402893172E-2</c:v>
                </c:pt>
                <c:pt idx="2">
                  <c:v>1.8161040186737358E-2</c:v>
                </c:pt>
                <c:pt idx="3">
                  <c:v>4.1076518711765493E-2</c:v>
                </c:pt>
                <c:pt idx="4">
                  <c:v>7.1941890867163433E-2</c:v>
                </c:pt>
                <c:pt idx="5">
                  <c:v>9.2447332939716881E-2</c:v>
                </c:pt>
                <c:pt idx="6">
                  <c:v>0.10831682527395142</c:v>
                </c:pt>
                <c:pt idx="7">
                  <c:v>0.18902377510261559</c:v>
                </c:pt>
                <c:pt idx="8">
                  <c:v>0.19576873044059104</c:v>
                </c:pt>
                <c:pt idx="9">
                  <c:v>4.9546663979823755E-2</c:v>
                </c:pt>
                <c:pt idx="10">
                  <c:v>0.2111591304051395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6405484166825383E-4</c:v>
                </c:pt>
                <c:pt idx="1">
                  <c:v>6.790208995048167E-3</c:v>
                </c:pt>
                <c:pt idx="2">
                  <c:v>1.4241990441861871E-4</c:v>
                </c:pt>
                <c:pt idx="3">
                  <c:v>1.3291292839119345E-2</c:v>
                </c:pt>
                <c:pt idx="4">
                  <c:v>5.2403168692109203E-2</c:v>
                </c:pt>
                <c:pt idx="5">
                  <c:v>2.0836488083426047E-3</c:v>
                </c:pt>
                <c:pt idx="6">
                  <c:v>3.6513051205990646E-2</c:v>
                </c:pt>
                <c:pt idx="7">
                  <c:v>8.9712340991130943E-2</c:v>
                </c:pt>
                <c:pt idx="8">
                  <c:v>0.14536600164662383</c:v>
                </c:pt>
                <c:pt idx="9">
                  <c:v>4.3141134383930919E-2</c:v>
                </c:pt>
                <c:pt idx="10">
                  <c:v>0.175012140674033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6605486613245063E-5</c:v>
                </c:pt>
                <c:pt idx="1">
                  <c:v>2.5938176798877442E-3</c:v>
                </c:pt>
                <c:pt idx="3">
                  <c:v>2.5128979861358792E-3</c:v>
                </c:pt>
                <c:pt idx="4">
                  <c:v>9.7186763698980418E-3</c:v>
                </c:pt>
                <c:pt idx="5">
                  <c:v>4.3533327564330253E-2</c:v>
                </c:pt>
                <c:pt idx="6">
                  <c:v>1.3964839824646375E-2</c:v>
                </c:pt>
                <c:pt idx="7">
                  <c:v>1.4901842095617924E-2</c:v>
                </c:pt>
                <c:pt idx="8">
                  <c:v>1.5256675085942925E-2</c:v>
                </c:pt>
                <c:pt idx="9">
                  <c:v>2.6461277189915801E-3</c:v>
                </c:pt>
                <c:pt idx="10">
                  <c:v>2.44692947364423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211287943793168E-6</c:v>
                </c:pt>
                <c:pt idx="5">
                  <c:v>2.3018579860218401E-2</c:v>
                </c:pt>
                <c:pt idx="6">
                  <c:v>1.1311895525152703E-2</c:v>
                </c:pt>
                <c:pt idx="7">
                  <c:v>3.58570297155460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4020512325264596E-3</c:v>
                </c:pt>
                <c:pt idx="1">
                  <c:v>7.030032727957259E-3</c:v>
                </c:pt>
                <c:pt idx="2">
                  <c:v>1.801862028231874E-2</c:v>
                </c:pt>
                <c:pt idx="3">
                  <c:v>2.5272327886510269E-2</c:v>
                </c:pt>
                <c:pt idx="4">
                  <c:v>9.8200458051561825E-3</c:v>
                </c:pt>
                <c:pt idx="5">
                  <c:v>2.3811776706825629E-2</c:v>
                </c:pt>
                <c:pt idx="6">
                  <c:v>4.652703871816171E-2</c:v>
                </c:pt>
                <c:pt idx="7">
                  <c:v>4.8552562300320679E-2</c:v>
                </c:pt>
                <c:pt idx="8">
                  <c:v>3.5146053708024289E-2</c:v>
                </c:pt>
                <c:pt idx="9">
                  <c:v>3.7594018769012555E-3</c:v>
                </c:pt>
                <c:pt idx="10">
                  <c:v>1.16776949946633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605E-2</c:v>
                </c:pt>
                <c:pt idx="5">
                  <c:v>0.1236600148751794</c:v>
                </c:pt>
                <c:pt idx="6">
                  <c:v>0.14971069932300879</c:v>
                </c:pt>
                <c:pt idx="7">
                  <c:v>0.1647679430192327</c:v>
                </c:pt>
                <c:pt idx="8">
                  <c:v>0.16299902679493175</c:v>
                </c:pt>
                <c:pt idx="9">
                  <c:v>0.19665703144981761</c:v>
                </c:pt>
                <c:pt idx="10">
                  <c:v>4.64278119925380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1181560058492834E-7</c:v>
                </c:pt>
                <c:pt idx="1">
                  <c:v>2.4336260492736444E-7</c:v>
                </c:pt>
                <c:pt idx="2">
                  <c:v>3.0265745294642621E-3</c:v>
                </c:pt>
                <c:pt idx="3">
                  <c:v>3.4725365029936576E-3</c:v>
                </c:pt>
                <c:pt idx="4">
                  <c:v>1.8439494441048283E-3</c:v>
                </c:pt>
                <c:pt idx="5">
                  <c:v>2.2671840543629514E-3</c:v>
                </c:pt>
                <c:pt idx="6">
                  <c:v>2.5051656416924775E-3</c:v>
                </c:pt>
                <c:pt idx="7">
                  <c:v>6.0241573619378257E-3</c:v>
                </c:pt>
                <c:pt idx="8">
                  <c:v>7.141709990768625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104435276264057E-3</c:v>
                </c:pt>
                <c:pt idx="1">
                  <c:v>1.6243417334473184E-3</c:v>
                </c:pt>
                <c:pt idx="2">
                  <c:v>9.4760486039468118E-3</c:v>
                </c:pt>
                <c:pt idx="3">
                  <c:v>2.9647063472338386E-3</c:v>
                </c:pt>
                <c:pt idx="4">
                  <c:v>1.0659466871129713E-2</c:v>
                </c:pt>
                <c:pt idx="5">
                  <c:v>3.3624212336648938E-2</c:v>
                </c:pt>
                <c:pt idx="6">
                  <c:v>3.4873370054166568E-2</c:v>
                </c:pt>
                <c:pt idx="7">
                  <c:v>5.2565894526394645E-2</c:v>
                </c:pt>
                <c:pt idx="8">
                  <c:v>7.8964049196093095E-2</c:v>
                </c:pt>
                <c:pt idx="9">
                  <c:v>0.10858238236090534</c:v>
                </c:pt>
                <c:pt idx="10">
                  <c:v>1.621735500217142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872159190005607E-7</c:v>
                </c:pt>
                <c:pt idx="2">
                  <c:v>2.2135271066913739E-3</c:v>
                </c:pt>
                <c:pt idx="3">
                  <c:v>6.6172094965712827E-5</c:v>
                </c:pt>
                <c:pt idx="4">
                  <c:v>4.7248894813796873E-3</c:v>
                </c:pt>
                <c:pt idx="5">
                  <c:v>1.8605413657029873E-2</c:v>
                </c:pt>
                <c:pt idx="6">
                  <c:v>6.4526693353509478E-3</c:v>
                </c:pt>
                <c:pt idx="7">
                  <c:v>4.309825545246255E-3</c:v>
                </c:pt>
                <c:pt idx="8">
                  <c:v>1.1538587241140381E-3</c:v>
                </c:pt>
                <c:pt idx="10">
                  <c:v>6.917807380805637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8.7565470624790579E-6</c:v>
                </c:pt>
                <c:pt idx="2">
                  <c:v>4.2633523011349402E-6</c:v>
                </c:pt>
                <c:pt idx="4">
                  <c:v>5.5903860522293286E-3</c:v>
                </c:pt>
                <c:pt idx="5">
                  <c:v>2.0296215915196892E-3</c:v>
                </c:pt>
                <c:pt idx="6">
                  <c:v>1.1919503798430578E-2</c:v>
                </c:pt>
                <c:pt idx="7">
                  <c:v>7.4942702978698797E-3</c:v>
                </c:pt>
                <c:pt idx="8">
                  <c:v>1.16863218624760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57140142555325E-2</c:v>
                </c:pt>
                <c:pt idx="1">
                  <c:v>2.5184185382167351E-2</c:v>
                </c:pt>
                <c:pt idx="2">
                  <c:v>1.8898507860945636E-2</c:v>
                </c:pt>
                <c:pt idx="3">
                  <c:v>3.6690283715549929E-2</c:v>
                </c:pt>
                <c:pt idx="4">
                  <c:v>3.8047778352694392E-2</c:v>
                </c:pt>
                <c:pt idx="5">
                  <c:v>5.976632250567436E-2</c:v>
                </c:pt>
                <c:pt idx="6">
                  <c:v>8.5399286558187404E-2</c:v>
                </c:pt>
                <c:pt idx="7">
                  <c:v>0.11668792544177388</c:v>
                </c:pt>
                <c:pt idx="8">
                  <c:v>9.7776789765661454E-2</c:v>
                </c:pt>
                <c:pt idx="9">
                  <c:v>3.4950998218423492E-2</c:v>
                </c:pt>
                <c:pt idx="10">
                  <c:v>1.043023281743285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340458942784401E-3</c:v>
                </c:pt>
                <c:pt idx="1">
                  <c:v>3.8566578448540174E-6</c:v>
                </c:pt>
                <c:pt idx="2">
                  <c:v>2.1473495231655787E-2</c:v>
                </c:pt>
                <c:pt idx="3">
                  <c:v>7.7027599671002046E-3</c:v>
                </c:pt>
                <c:pt idx="4">
                  <c:v>1.1532596509669556E-2</c:v>
                </c:pt>
                <c:pt idx="5">
                  <c:v>5.1033938664164412E-2</c:v>
                </c:pt>
                <c:pt idx="6">
                  <c:v>5.6864616809613855E-2</c:v>
                </c:pt>
                <c:pt idx="7">
                  <c:v>6.9391204270712645E-2</c:v>
                </c:pt>
                <c:pt idx="8">
                  <c:v>0.11028911986485068</c:v>
                </c:pt>
                <c:pt idx="9">
                  <c:v>0.17365204236203063</c:v>
                </c:pt>
                <c:pt idx="10">
                  <c:v>2.01557954535864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867160776327196E-6</c:v>
                </c:pt>
                <c:pt idx="3">
                  <c:v>1.9408505388064049E-6</c:v>
                </c:pt>
                <c:pt idx="4">
                  <c:v>3.1405966905818689E-3</c:v>
                </c:pt>
                <c:pt idx="5">
                  <c:v>1.7672683795853877E-2</c:v>
                </c:pt>
                <c:pt idx="6">
                  <c:v>2.127501509042598E-2</c:v>
                </c:pt>
                <c:pt idx="7">
                  <c:v>3.28127705060438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766958469579996E-3</c:v>
                </c:pt>
                <c:pt idx="1">
                  <c:v>3.4308227150235131E-3</c:v>
                </c:pt>
                <c:pt idx="2">
                  <c:v>1.3627087281451152E-2</c:v>
                </c:pt>
                <c:pt idx="3">
                  <c:v>7.9725131487615359E-4</c:v>
                </c:pt>
                <c:pt idx="4">
                  <c:v>1.680726480140829E-3</c:v>
                </c:pt>
                <c:pt idx="5">
                  <c:v>1.0681978065784416E-2</c:v>
                </c:pt>
                <c:pt idx="6">
                  <c:v>2.8043387000062883E-2</c:v>
                </c:pt>
                <c:pt idx="7">
                  <c:v>5.3127966136139971E-3</c:v>
                </c:pt>
                <c:pt idx="8">
                  <c:v>1.476432552426067E-2</c:v>
                </c:pt>
                <c:pt idx="9">
                  <c:v>2.6973690356003827E-3</c:v>
                </c:pt>
                <c:pt idx="10">
                  <c:v>1.02515600243590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9.2315992405589582E-3</c:v>
                </c:pt>
                <c:pt idx="1">
                  <c:v>1.4580858801069756E-2</c:v>
                </c:pt>
                <c:pt idx="2">
                  <c:v>1.3820646427443857E-2</c:v>
                </c:pt>
                <c:pt idx="3">
                  <c:v>3.1703179992200035E-2</c:v>
                </c:pt>
                <c:pt idx="4">
                  <c:v>1.8732525927822347E-2</c:v>
                </c:pt>
                <c:pt idx="5">
                  <c:v>4.4271414349376689E-2</c:v>
                </c:pt>
                <c:pt idx="6">
                  <c:v>4.352768042290607E-2</c:v>
                </c:pt>
                <c:pt idx="7">
                  <c:v>5.7251171628862195E-2</c:v>
                </c:pt>
                <c:pt idx="8">
                  <c:v>3.7945581405820404E-2</c:v>
                </c:pt>
                <c:pt idx="9">
                  <c:v>2.030762005218659E-2</c:v>
                </c:pt>
                <c:pt idx="10">
                  <c:v>1.60204565145925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6872184253652326E-3</c:v>
                </c:pt>
                <c:pt idx="1">
                  <c:v>6.4377750810823645E-3</c:v>
                </c:pt>
                <c:pt idx="2">
                  <c:v>2.3401097734032036E-2</c:v>
                </c:pt>
                <c:pt idx="3">
                  <c:v>9.0467878237250693E-2</c:v>
                </c:pt>
                <c:pt idx="4">
                  <c:v>2.6029595140876296E-2</c:v>
                </c:pt>
                <c:pt idx="5">
                  <c:v>0.11858627354648472</c:v>
                </c:pt>
                <c:pt idx="6">
                  <c:v>0.12647657415686711</c:v>
                </c:pt>
                <c:pt idx="7">
                  <c:v>0.19717935221122621</c:v>
                </c:pt>
                <c:pt idx="8">
                  <c:v>0.14705443469514709</c:v>
                </c:pt>
                <c:pt idx="9">
                  <c:v>0.12556180470126249</c:v>
                </c:pt>
                <c:pt idx="10">
                  <c:v>0.134117996070405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6440241072721144E-3</c:v>
                </c:pt>
                <c:pt idx="3">
                  <c:v>8.3105556641202921E-2</c:v>
                </c:pt>
                <c:pt idx="4">
                  <c:v>2.773710780301409E-3</c:v>
                </c:pt>
                <c:pt idx="5">
                  <c:v>2.1370621553664488E-7</c:v>
                </c:pt>
                <c:pt idx="6">
                  <c:v>3.3712422633675153E-2</c:v>
                </c:pt>
                <c:pt idx="7">
                  <c:v>8.9253011828478751E-2</c:v>
                </c:pt>
                <c:pt idx="8">
                  <c:v>9.453996113004498E-2</c:v>
                </c:pt>
                <c:pt idx="9">
                  <c:v>0.11749617594988361</c:v>
                </c:pt>
                <c:pt idx="10">
                  <c:v>9.161740397062230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900335880278075E-4</c:v>
                </c:pt>
                <c:pt idx="1">
                  <c:v>2.5669678256209994E-3</c:v>
                </c:pt>
                <c:pt idx="2">
                  <c:v>6.9857000088670274E-4</c:v>
                </c:pt>
                <c:pt idx="3">
                  <c:v>5.2194003286053624E-3</c:v>
                </c:pt>
                <c:pt idx="4">
                  <c:v>1.6969502324348941E-2</c:v>
                </c:pt>
                <c:pt idx="5">
                  <c:v>7.1178826458318301E-2</c:v>
                </c:pt>
                <c:pt idx="6">
                  <c:v>1.5141958004484733E-2</c:v>
                </c:pt>
                <c:pt idx="7">
                  <c:v>3.2898255379034416E-2</c:v>
                </c:pt>
                <c:pt idx="8">
                  <c:v>2.4180270595878645E-2</c:v>
                </c:pt>
                <c:pt idx="9">
                  <c:v>5.3061294344106504E-3</c:v>
                </c:pt>
                <c:pt idx="10">
                  <c:v>3.221516126992282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6195013190392843E-3</c:v>
                </c:pt>
                <c:pt idx="5">
                  <c:v>3.440762676166715E-2</c:v>
                </c:pt>
                <c:pt idx="6">
                  <c:v>1.8093632635774282E-2</c:v>
                </c:pt>
                <c:pt idx="7">
                  <c:v>3.9699117320313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382150665624514E-3</c:v>
                </c:pt>
                <c:pt idx="1">
                  <c:v>3.8708072554613647E-3</c:v>
                </c:pt>
                <c:pt idx="2">
                  <c:v>2.1058503625873217E-2</c:v>
                </c:pt>
                <c:pt idx="3">
                  <c:v>2.1429212674424119E-3</c:v>
                </c:pt>
                <c:pt idx="4">
                  <c:v>4.6668807171866616E-3</c:v>
                </c:pt>
                <c:pt idx="5">
                  <c:v>1.299960662028375E-2</c:v>
                </c:pt>
                <c:pt idx="6">
                  <c:v>5.9528560882932929E-2</c:v>
                </c:pt>
                <c:pt idx="7">
                  <c:v>3.5328967683399513E-2</c:v>
                </c:pt>
                <c:pt idx="8">
                  <c:v>2.8334202969223475E-2</c:v>
                </c:pt>
                <c:pt idx="9">
                  <c:v>2.759499316968222E-3</c:v>
                </c:pt>
                <c:pt idx="10">
                  <c:v>1.028543082986059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66118400716372E-2</c:v>
                </c:pt>
                <c:pt idx="1">
                  <c:v>1.7979971027474409E-2</c:v>
                </c:pt>
                <c:pt idx="2">
                  <c:v>1.1086532584295801E-2</c:v>
                </c:pt>
                <c:pt idx="3">
                  <c:v>1.3960396047619254E-2</c:v>
                </c:pt>
                <c:pt idx="4">
                  <c:v>2.7231768358389322E-2</c:v>
                </c:pt>
                <c:pt idx="5">
                  <c:v>0.14762693303421917</c:v>
                </c:pt>
                <c:pt idx="6">
                  <c:v>0.13467382647792436</c:v>
                </c:pt>
                <c:pt idx="7">
                  <c:v>0.15483900827319605</c:v>
                </c:pt>
                <c:pt idx="8">
                  <c:v>0.26165380079754724</c:v>
                </c:pt>
                <c:pt idx="9">
                  <c:v>0.18614307658344176</c:v>
                </c:pt>
                <c:pt idx="10">
                  <c:v>2.04385684151761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13088181788768E-4</c:v>
                </c:pt>
                <c:pt idx="2">
                  <c:v>4.3850338175157249E-8</c:v>
                </c:pt>
                <c:pt idx="4">
                  <c:v>5.4322203703737184E-3</c:v>
                </c:pt>
                <c:pt idx="5">
                  <c:v>2.4861961159286367E-2</c:v>
                </c:pt>
                <c:pt idx="6">
                  <c:v>4.6146567879905231E-2</c:v>
                </c:pt>
                <c:pt idx="7">
                  <c:v>2.2198154308233661E-3</c:v>
                </c:pt>
                <c:pt idx="8">
                  <c:v>0.15182980242764646</c:v>
                </c:pt>
                <c:pt idx="9">
                  <c:v>0.11946298069449059</c:v>
                </c:pt>
                <c:pt idx="10">
                  <c:v>1.34261572583225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681801869492382E-3</c:v>
                </c:pt>
                <c:pt idx="3">
                  <c:v>1.3360557152412469E-3</c:v>
                </c:pt>
                <c:pt idx="4">
                  <c:v>3.9821065524359512E-3</c:v>
                </c:pt>
                <c:pt idx="5">
                  <c:v>9.1831688531884476E-2</c:v>
                </c:pt>
                <c:pt idx="6">
                  <c:v>4.2687066284737868E-2</c:v>
                </c:pt>
                <c:pt idx="7">
                  <c:v>1.0755297249029471E-2</c:v>
                </c:pt>
                <c:pt idx="8">
                  <c:v>4.9829061937105013E-3</c:v>
                </c:pt>
                <c:pt idx="10">
                  <c:v>3.279330674914452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4336809239452447E-3</c:v>
                </c:pt>
                <c:pt idx="6">
                  <c:v>1.2468830167694218E-2</c:v>
                </c:pt>
                <c:pt idx="7">
                  <c:v>7.1521800620634748E-2</c:v>
                </c:pt>
                <c:pt idx="8">
                  <c:v>3.961723566010963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168987518898486E-2</c:v>
                </c:pt>
                <c:pt idx="1">
                  <c:v>1.7979971027474409E-2</c:v>
                </c:pt>
                <c:pt idx="2">
                  <c:v>7.9183085470083854E-3</c:v>
                </c:pt>
                <c:pt idx="3">
                  <c:v>7.1906594084327619E-3</c:v>
                </c:pt>
                <c:pt idx="4">
                  <c:v>1.7817441435579659E-2</c:v>
                </c:pt>
                <c:pt idx="5">
                  <c:v>3.0933283343048318E-2</c:v>
                </c:pt>
                <c:pt idx="6">
                  <c:v>3.3371362145587058E-2</c:v>
                </c:pt>
                <c:pt idx="7">
                  <c:v>7.0342094972708491E-2</c:v>
                </c:pt>
                <c:pt idx="8">
                  <c:v>6.5223856516080647E-2</c:v>
                </c:pt>
                <c:pt idx="9">
                  <c:v>6.6680095888951185E-2</c:v>
                </c:pt>
                <c:pt idx="10">
                  <c:v>6.979617850104540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5E-2</c:v>
                </c:pt>
                <c:pt idx="4">
                  <c:v>5.7701549538145838E-2</c:v>
                </c:pt>
                <c:pt idx="5">
                  <c:v>0.14579996000114001</c:v>
                </c:pt>
                <c:pt idx="6">
                  <c:v>0.1286472547711171</c:v>
                </c:pt>
                <c:pt idx="7">
                  <c:v>0.1797236450590925</c:v>
                </c:pt>
                <c:pt idx="8">
                  <c:v>0.24907140238754866</c:v>
                </c:pt>
                <c:pt idx="9">
                  <c:v>0.15553268833943143</c:v>
                </c:pt>
                <c:pt idx="10">
                  <c:v>5.624102605429427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8225773745351076E-5</c:v>
                </c:pt>
                <c:pt idx="2">
                  <c:v>4.0164702922471991E-4</c:v>
                </c:pt>
                <c:pt idx="3">
                  <c:v>4.9040371330939954E-4</c:v>
                </c:pt>
                <c:pt idx="4">
                  <c:v>2.0178929380227327E-2</c:v>
                </c:pt>
                <c:pt idx="5">
                  <c:v>2.1434278531619246E-2</c:v>
                </c:pt>
                <c:pt idx="6">
                  <c:v>2.8178332837032982E-2</c:v>
                </c:pt>
                <c:pt idx="7">
                  <c:v>2.3025306076452531E-2</c:v>
                </c:pt>
                <c:pt idx="8">
                  <c:v>0.10714444829909844</c:v>
                </c:pt>
                <c:pt idx="9">
                  <c:v>0.10232818507711655</c:v>
                </c:pt>
                <c:pt idx="10">
                  <c:v>5.57199516344661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56564186376998E-7</c:v>
                </c:pt>
                <c:pt idx="2">
                  <c:v>1.0056265390634238E-2</c:v>
                </c:pt>
                <c:pt idx="3">
                  <c:v>3.0062615741991957E-4</c:v>
                </c:pt>
                <c:pt idx="4">
                  <c:v>2.146562489455665E-2</c:v>
                </c:pt>
                <c:pt idx="5">
                  <c:v>8.4526174028782805E-2</c:v>
                </c:pt>
                <c:pt idx="6">
                  <c:v>2.9315094049735521E-2</c:v>
                </c:pt>
                <c:pt idx="7">
                  <c:v>1.9579949727886542E-2</c:v>
                </c:pt>
                <c:pt idx="8">
                  <c:v>5.2420905612190578E-3</c:v>
                </c:pt>
                <c:pt idx="10">
                  <c:v>3.14282606851172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1561914533476032E-3</c:v>
                </c:pt>
                <c:pt idx="3">
                  <c:v>7.8647021362536103E-3</c:v>
                </c:pt>
                <c:pt idx="5">
                  <c:v>4.1943931491551263E-4</c:v>
                </c:pt>
                <c:pt idx="6">
                  <c:v>3.0147891771798805E-2</c:v>
                </c:pt>
                <c:pt idx="7">
                  <c:v>4.640047933113782E-2</c:v>
                </c:pt>
                <c:pt idx="8">
                  <c:v>5.2855946448045546E-2</c:v>
                </c:pt>
                <c:pt idx="9">
                  <c:v>3.1018771946548947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2699690459273E-2</c:v>
                </c:pt>
                <c:pt idx="1">
                  <c:v>2.0705941386764733E-2</c:v>
                </c:pt>
                <c:pt idx="2">
                  <c:v>4.6646295420900369E-3</c:v>
                </c:pt>
                <c:pt idx="3">
                  <c:v>8.8930921542940463E-3</c:v>
                </c:pt>
                <c:pt idx="4">
                  <c:v>1.6056995263361861E-2</c:v>
                </c:pt>
                <c:pt idx="5">
                  <c:v>3.9420068125822459E-2</c:v>
                </c:pt>
                <c:pt idx="6">
                  <c:v>4.1005936112549782E-2</c:v>
                </c:pt>
                <c:pt idx="7">
                  <c:v>9.0717909923615614E-2</c:v>
                </c:pt>
                <c:pt idx="8">
                  <c:v>8.3828917079185619E-2</c:v>
                </c:pt>
                <c:pt idx="9">
                  <c:v>5.3173484490368329E-2</c:v>
                </c:pt>
                <c:pt idx="10">
                  <c:v>2.067918129769929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0.16</c:v>
                </c:pt>
                <c:pt idx="2">
                  <c:v>3.2899999999999999E-2</c:v>
                </c:pt>
                <c:pt idx="4">
                  <c:v>3.0999999999999999E-3</c:v>
                </c:pt>
                <c:pt idx="5">
                  <c:v>0.21490000000000001</c:v>
                </c:pt>
                <c:pt idx="6">
                  <c:v>3.1600000000000003E-2</c:v>
                </c:pt>
                <c:pt idx="7">
                  <c:v>0.27050000000000002</c:v>
                </c:pt>
                <c:pt idx="8">
                  <c:v>0.2868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352154506864178E-2</c:v>
                </c:pt>
                <c:pt idx="1">
                  <c:v>1.8944882812584778E-3</c:v>
                </c:pt>
                <c:pt idx="2">
                  <c:v>4.1063764779702226E-3</c:v>
                </c:pt>
                <c:pt idx="3">
                  <c:v>1.662843254070168E-2</c:v>
                </c:pt>
                <c:pt idx="4">
                  <c:v>7.2937955575104671E-2</c:v>
                </c:pt>
                <c:pt idx="5">
                  <c:v>0.1579797189122554</c:v>
                </c:pt>
                <c:pt idx="6">
                  <c:v>9.598337906718378E-2</c:v>
                </c:pt>
                <c:pt idx="7">
                  <c:v>0.21068997706434742</c:v>
                </c:pt>
                <c:pt idx="8">
                  <c:v>0.19968366113881508</c:v>
                </c:pt>
                <c:pt idx="9">
                  <c:v>0.15604544109593402</c:v>
                </c:pt>
                <c:pt idx="10">
                  <c:v>4.26984153395650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099638059920146E-5</c:v>
                </c:pt>
                <c:pt idx="1">
                  <c:v>4.9652516784552209E-5</c:v>
                </c:pt>
                <c:pt idx="2">
                  <c:v>2.1346000392107782E-3</c:v>
                </c:pt>
                <c:pt idx="3">
                  <c:v>5.4010073745683141E-3</c:v>
                </c:pt>
                <c:pt idx="4">
                  <c:v>2.3980718714754611E-2</c:v>
                </c:pt>
                <c:pt idx="5">
                  <c:v>8.6490681170313916E-2</c:v>
                </c:pt>
                <c:pt idx="6">
                  <c:v>2.5858857114332695E-3</c:v>
                </c:pt>
                <c:pt idx="7">
                  <c:v>5.5749069346889751E-2</c:v>
                </c:pt>
                <c:pt idx="8">
                  <c:v>2.9218058468430861E-3</c:v>
                </c:pt>
                <c:pt idx="9">
                  <c:v>1.099638059920146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349330655618196E-7</c:v>
                </c:pt>
                <c:pt idx="4">
                  <c:v>2.4970899380947178E-2</c:v>
                </c:pt>
                <c:pt idx="5">
                  <c:v>6.5450167948010269E-3</c:v>
                </c:pt>
                <c:pt idx="6">
                  <c:v>4.6032296080441418E-2</c:v>
                </c:pt>
                <c:pt idx="7">
                  <c:v>9.341690582588727E-3</c:v>
                </c:pt>
                <c:pt idx="8">
                  <c:v>7.5749001825254486E-2</c:v>
                </c:pt>
                <c:pt idx="9">
                  <c:v>7.3772522986896696E-2</c:v>
                </c:pt>
                <c:pt idx="10">
                  <c:v>4.26984153395650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0309372075318455E-2</c:v>
                </c:pt>
                <c:pt idx="1">
                  <c:v>1.5883500099714985E-3</c:v>
                </c:pt>
                <c:pt idx="3">
                  <c:v>2.5332670656713012E-4</c:v>
                </c:pt>
                <c:pt idx="4">
                  <c:v>4.6541698588725477E-4</c:v>
                </c:pt>
                <c:pt idx="5">
                  <c:v>1.2628571442351353E-2</c:v>
                </c:pt>
                <c:pt idx="6">
                  <c:v>1.7162625135073415E-2</c:v>
                </c:pt>
                <c:pt idx="7">
                  <c:v>5.8732633375124403E-2</c:v>
                </c:pt>
                <c:pt idx="8">
                  <c:v>7.4166487613758882E-3</c:v>
                </c:pt>
                <c:pt idx="9">
                  <c:v>7.04900069185561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103178605094652E-2</c:v>
                </c:pt>
                <c:pt idx="1">
                  <c:v>2.5648575450242704E-4</c:v>
                </c:pt>
                <c:pt idx="2">
                  <c:v>1.9714629454528881E-3</c:v>
                </c:pt>
                <c:pt idx="3">
                  <c:v>1.0974098459566237E-2</c:v>
                </c:pt>
                <c:pt idx="4">
                  <c:v>2.3520920493515632E-2</c:v>
                </c:pt>
                <c:pt idx="5">
                  <c:v>5.2315449504789092E-2</c:v>
                </c:pt>
                <c:pt idx="6">
                  <c:v>3.0202572140235685E-2</c:v>
                </c:pt>
                <c:pt idx="7">
                  <c:v>8.6866583759744515E-2</c:v>
                </c:pt>
                <c:pt idx="8">
                  <c:v>0.11359620470534162</c:v>
                </c:pt>
                <c:pt idx="9">
                  <c:v>1.17719148098819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11632227398507E-2</c:v>
                </c:pt>
                <c:pt idx="1">
                  <c:v>2.3450659593645454E-2</c:v>
                </c:pt>
                <c:pt idx="2">
                  <c:v>4.2418163511807661E-2</c:v>
                </c:pt>
                <c:pt idx="3">
                  <c:v>2.0666175437598685E-2</c:v>
                </c:pt>
                <c:pt idx="4">
                  <c:v>5.0223009271810573E-2</c:v>
                </c:pt>
                <c:pt idx="5">
                  <c:v>7.2486072766880225E-2</c:v>
                </c:pt>
                <c:pt idx="6">
                  <c:v>0.14481255446315669</c:v>
                </c:pt>
                <c:pt idx="7">
                  <c:v>0.16464962829241295</c:v>
                </c:pt>
                <c:pt idx="8">
                  <c:v>0.37080110599668015</c:v>
                </c:pt>
                <c:pt idx="9">
                  <c:v>7.1442598795916926E-2</c:v>
                </c:pt>
                <c:pt idx="10">
                  <c:v>2.9383996426922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026953427596778E-4</c:v>
                </c:pt>
                <c:pt idx="1">
                  <c:v>1.1616987661786514E-3</c:v>
                </c:pt>
                <c:pt idx="2">
                  <c:v>1.8942375567857307E-2</c:v>
                </c:pt>
                <c:pt idx="3">
                  <c:v>2.6785878801813978E-4</c:v>
                </c:pt>
                <c:pt idx="4">
                  <c:v>9.5626644052705895E-4</c:v>
                </c:pt>
                <c:pt idx="5">
                  <c:v>4.4772201259660138E-2</c:v>
                </c:pt>
                <c:pt idx="6">
                  <c:v>1.6746882082728166E-2</c:v>
                </c:pt>
                <c:pt idx="7">
                  <c:v>9.1466664264135092E-2</c:v>
                </c:pt>
                <c:pt idx="8">
                  <c:v>0.18740549520159638</c:v>
                </c:pt>
                <c:pt idx="9">
                  <c:v>6.9317613526885161E-2</c:v>
                </c:pt>
                <c:pt idx="10">
                  <c:v>2.542150612316626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6526153264520981E-4</c:v>
                </c:pt>
                <c:pt idx="4">
                  <c:v>3.5545329008789726E-2</c:v>
                </c:pt>
                <c:pt idx="5">
                  <c:v>3.333909458024299E-6</c:v>
                </c:pt>
                <c:pt idx="6">
                  <c:v>8.0993148012353439E-2</c:v>
                </c:pt>
                <c:pt idx="7">
                  <c:v>1.8433696394419587E-2</c:v>
                </c:pt>
                <c:pt idx="8">
                  <c:v>0.106145118470422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3927200276801803E-3</c:v>
                </c:pt>
                <c:pt idx="6">
                  <c:v>2.0531881397242643E-2</c:v>
                </c:pt>
                <c:pt idx="7">
                  <c:v>5.2946351909761071E-3</c:v>
                </c:pt>
                <c:pt idx="8">
                  <c:v>5.19189670286376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306101160477325E-2</c:v>
                </c:pt>
                <c:pt idx="1">
                  <c:v>2.2288960827466803E-2</c:v>
                </c:pt>
                <c:pt idx="2">
                  <c:v>2.3475787943950353E-2</c:v>
                </c:pt>
                <c:pt idx="3">
                  <c:v>1.8005596621900367E-2</c:v>
                </c:pt>
                <c:pt idx="4">
                  <c:v>1.372141382249379E-2</c:v>
                </c:pt>
                <c:pt idx="5">
                  <c:v>2.7710537597762059E-2</c:v>
                </c:pt>
                <c:pt idx="6">
                  <c:v>2.6540642970832432E-2</c:v>
                </c:pt>
                <c:pt idx="7">
                  <c:v>4.9454632442882167E-2</c:v>
                </c:pt>
                <c:pt idx="8">
                  <c:v>2.533152529602313E-2</c:v>
                </c:pt>
                <c:pt idx="9">
                  <c:v>2.1249852690317585E-3</c:v>
                </c:pt>
                <c:pt idx="10">
                  <c:v>3.96249030375596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45E-2</c:v>
                </c:pt>
                <c:pt idx="3">
                  <c:v>2.4302963422487257E-2</c:v>
                </c:pt>
                <c:pt idx="4">
                  <c:v>6.8264835910008592E-2</c:v>
                </c:pt>
                <c:pt idx="5">
                  <c:v>8.1085129025960004E-2</c:v>
                </c:pt>
                <c:pt idx="6">
                  <c:v>0.17391019501158078</c:v>
                </c:pt>
                <c:pt idx="7">
                  <c:v>0.21549263910120095</c:v>
                </c:pt>
                <c:pt idx="8">
                  <c:v>0.18617788954780062</c:v>
                </c:pt>
                <c:pt idx="9">
                  <c:v>9.8373163005540581E-2</c:v>
                </c:pt>
                <c:pt idx="10">
                  <c:v>1.21110961242787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5.8471293157413735E-3</c:v>
                </c:pt>
                <c:pt idx="1">
                  <c:v>1.092006253138679E-2</c:v>
                </c:pt>
                <c:pt idx="2">
                  <c:v>9.7703092868681816E-3</c:v>
                </c:pt>
                <c:pt idx="3">
                  <c:v>5.6818865986670236E-4</c:v>
                </c:pt>
                <c:pt idx="4">
                  <c:v>1.2979075352347186E-2</c:v>
                </c:pt>
                <c:pt idx="5">
                  <c:v>5.1461671621167847E-2</c:v>
                </c:pt>
                <c:pt idx="6">
                  <c:v>2.6026577204275821E-2</c:v>
                </c:pt>
                <c:pt idx="7">
                  <c:v>0.11304358006717868</c:v>
                </c:pt>
                <c:pt idx="8">
                  <c:v>6.842125233657842E-2</c:v>
                </c:pt>
                <c:pt idx="9">
                  <c:v>9.1647256663037982E-2</c:v>
                </c:pt>
                <c:pt idx="10">
                  <c:v>1.081169024282095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8932929382426877E-5</c:v>
                </c:pt>
                <c:pt idx="2">
                  <c:v>2.8693026863497596E-5</c:v>
                </c:pt>
                <c:pt idx="4">
                  <c:v>3.7624171272741688E-2</c:v>
                </c:pt>
                <c:pt idx="5">
                  <c:v>1.3659670309841923E-2</c:v>
                </c:pt>
                <c:pt idx="6">
                  <c:v>8.0220122225621637E-2</c:v>
                </c:pt>
                <c:pt idx="7">
                  <c:v>5.0437609606376867E-2</c:v>
                </c:pt>
                <c:pt idx="8">
                  <c:v>7.86507713768433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761514813472729E-3</c:v>
                </c:pt>
                <c:pt idx="4">
                  <c:v>7.3097457442948424E-6</c:v>
                </c:pt>
                <c:pt idx="5">
                  <c:v>1.7895228170680318E-5</c:v>
                </c:pt>
                <c:pt idx="6">
                  <c:v>2.2748960006682504E-2</c:v>
                </c:pt>
                <c:pt idx="7">
                  <c:v>3.1314526136026239E-3</c:v>
                </c:pt>
                <c:pt idx="8">
                  <c:v>2.66102042898016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1152539137243144E-2</c:v>
                </c:pt>
                <c:pt idx="1">
                  <c:v>3.3155277835094747E-2</c:v>
                </c:pt>
                <c:pt idx="2">
                  <c:v>2.9349144788562265E-2</c:v>
                </c:pt>
                <c:pt idx="3">
                  <c:v>1.6973259949147827E-2</c:v>
                </c:pt>
                <c:pt idx="4">
                  <c:v>1.7654279539175428E-2</c:v>
                </c:pt>
                <c:pt idx="5">
                  <c:v>1.5945891866779548E-2</c:v>
                </c:pt>
                <c:pt idx="6">
                  <c:v>4.491453557500083E-2</c:v>
                </c:pt>
                <c:pt idx="7">
                  <c:v>4.8879996814042766E-2</c:v>
                </c:pt>
                <c:pt idx="8">
                  <c:v>1.249566154457718E-2</c:v>
                </c:pt>
                <c:pt idx="9">
                  <c:v>6.7259063425025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407163329055978E-2</c:v>
                </c:pt>
                <c:pt idx="1">
                  <c:v>1.2044393970977332E-2</c:v>
                </c:pt>
                <c:pt idx="2">
                  <c:v>1.4302872009187801E-2</c:v>
                </c:pt>
                <c:pt idx="3">
                  <c:v>7.3534143323884416E-2</c:v>
                </c:pt>
                <c:pt idx="4">
                  <c:v>5.488923808164483E-2</c:v>
                </c:pt>
                <c:pt idx="5">
                  <c:v>0.12557448270961982</c:v>
                </c:pt>
                <c:pt idx="6">
                  <c:v>0.12102272836063067</c:v>
                </c:pt>
                <c:pt idx="7">
                  <c:v>0.18684329868097355</c:v>
                </c:pt>
                <c:pt idx="8">
                  <c:v>0.21470096608732964</c:v>
                </c:pt>
                <c:pt idx="9">
                  <c:v>0.11508403400458216</c:v>
                </c:pt>
                <c:pt idx="10">
                  <c:v>6.75966794421137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165525822856861E-2</c:v>
                </c:pt>
                <c:pt idx="1">
                  <c:v>9.4537188852260035E-3</c:v>
                </c:pt>
                <c:pt idx="2">
                  <c:v>2.0219498100420973E-2</c:v>
                </c:pt>
                <c:pt idx="3">
                  <c:v>8.240412408021246E-3</c:v>
                </c:pt>
                <c:pt idx="4">
                  <c:v>5.5533695297342311E-2</c:v>
                </c:pt>
                <c:pt idx="5">
                  <c:v>9.3213785174338426E-2</c:v>
                </c:pt>
                <c:pt idx="6">
                  <c:v>0.21615012501036701</c:v>
                </c:pt>
                <c:pt idx="7">
                  <c:v>0.151632184131818</c:v>
                </c:pt>
                <c:pt idx="8">
                  <c:v>0.34844429515359976</c:v>
                </c:pt>
                <c:pt idx="9">
                  <c:v>8.29467600160094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1517237159222177E-3</c:v>
                </c:pt>
                <c:pt idx="4">
                  <c:v>4.2664254916507265E-2</c:v>
                </c:pt>
                <c:pt idx="5">
                  <c:v>2.363851662450068E-3</c:v>
                </c:pt>
                <c:pt idx="6">
                  <c:v>0.13061912267877912</c:v>
                </c:pt>
                <c:pt idx="7">
                  <c:v>1.8629309868748042E-2</c:v>
                </c:pt>
                <c:pt idx="8">
                  <c:v>0.126846419350542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2.5154757217617264E-3</c:v>
                </c:pt>
                <c:pt idx="2">
                  <c:v>1.7887792465559889E-2</c:v>
                </c:pt>
                <c:pt idx="4">
                  <c:v>8.1499796271115744E-3</c:v>
                </c:pt>
                <c:pt idx="5">
                  <c:v>8.1816742758027902E-2</c:v>
                </c:pt>
                <c:pt idx="6">
                  <c:v>2.9206648206708926E-2</c:v>
                </c:pt>
                <c:pt idx="7">
                  <c:v>7.7167343859306056E-2</c:v>
                </c:pt>
                <c:pt idx="8">
                  <c:v>0.1235200316263531</c:v>
                </c:pt>
                <c:pt idx="9">
                  <c:v>8.294676001600942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2.2506262097199775E-2</c:v>
                </c:pt>
                <c:pt idx="7">
                  <c:v>4.2216487049919794E-3</c:v>
                </c:pt>
                <c:pt idx="8">
                  <c:v>6.945060947337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165525822856861E-2</c:v>
                </c:pt>
                <c:pt idx="1">
                  <c:v>6.938243163464277E-3</c:v>
                </c:pt>
                <c:pt idx="2">
                  <c:v>2.3317056348610837E-3</c:v>
                </c:pt>
                <c:pt idx="3">
                  <c:v>5.0886886920990283E-3</c:v>
                </c:pt>
                <c:pt idx="4">
                  <c:v>4.7194607537234734E-3</c:v>
                </c:pt>
                <c:pt idx="5">
                  <c:v>9.0331907538604584E-3</c:v>
                </c:pt>
                <c:pt idx="6">
                  <c:v>3.3818092027679179E-2</c:v>
                </c:pt>
                <c:pt idx="7">
                  <c:v>5.1613881698771936E-2</c:v>
                </c:pt>
                <c:pt idx="8">
                  <c:v>2.86272347033284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9E-2</c:v>
                </c:pt>
                <c:pt idx="4">
                  <c:v>7.0418162902305598E-2</c:v>
                </c:pt>
                <c:pt idx="5">
                  <c:v>0.21572543411195483</c:v>
                </c:pt>
                <c:pt idx="6">
                  <c:v>0.35475670948466687</c:v>
                </c:pt>
                <c:pt idx="7">
                  <c:v>0.11896334298735282</c:v>
                </c:pt>
                <c:pt idx="8">
                  <c:v>3.931459111135447E-2</c:v>
                </c:pt>
                <c:pt idx="9">
                  <c:v>2.42476773143495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5069372932280362E-5</c:v>
                </c:pt>
                <c:pt idx="1">
                  <c:v>2.3305851073747173E-6</c:v>
                </c:pt>
                <c:pt idx="2">
                  <c:v>1.2417848101588783E-3</c:v>
                </c:pt>
                <c:pt idx="3">
                  <c:v>2.0887685031284794E-3</c:v>
                </c:pt>
                <c:pt idx="4">
                  <c:v>3.1903502197226574E-3</c:v>
                </c:pt>
                <c:pt idx="5">
                  <c:v>7.476247167235133E-3</c:v>
                </c:pt>
                <c:pt idx="6">
                  <c:v>0.20295954379017314</c:v>
                </c:pt>
                <c:pt idx="7">
                  <c:v>0.10730673757925707</c:v>
                </c:pt>
                <c:pt idx="9">
                  <c:v>1.2066248672547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5.7857511264821783E-2</c:v>
                </c:pt>
                <c:pt idx="4">
                  <c:v>2.3203550653770827E-3</c:v>
                </c:pt>
                <c:pt idx="5">
                  <c:v>0.1228202650802594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9.3137540633138035E-4</c:v>
                </c:pt>
                <c:pt idx="2">
                  <c:v>5.9809682948183292E-3</c:v>
                </c:pt>
                <c:pt idx="3">
                  <c:v>2.2406981196544965E-3</c:v>
                </c:pt>
                <c:pt idx="4">
                  <c:v>5.6405139690855491E-2</c:v>
                </c:pt>
                <c:pt idx="5">
                  <c:v>1.3637038502443532E-2</c:v>
                </c:pt>
                <c:pt idx="6">
                  <c:v>8.6067281391607575E-2</c:v>
                </c:pt>
                <c:pt idx="8">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1131319001265286E-2</c:v>
                </c:pt>
                <c:pt idx="1">
                  <c:v>1.8150915738406884E-2</c:v>
                </c:pt>
                <c:pt idx="2">
                  <c:v>1.2578830201321339E-2</c:v>
                </c:pt>
                <c:pt idx="3">
                  <c:v>3.4294510790069337E-2</c:v>
                </c:pt>
                <c:pt idx="4">
                  <c:v>8.5023179263503702E-3</c:v>
                </c:pt>
                <c:pt idx="5">
                  <c:v>7.1791883362016695E-2</c:v>
                </c:pt>
                <c:pt idx="6">
                  <c:v>6.5729884302886177E-2</c:v>
                </c:pt>
                <c:pt idx="7">
                  <c:v>1.1656605408095756E-2</c:v>
                </c:pt>
                <c:pt idx="8">
                  <c:v>2.2251273578897519E-2</c:v>
                </c:pt>
                <c:pt idx="9">
                  <c:v>1.21814286418017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64E-2</c:v>
                </c:pt>
                <c:pt idx="1">
                  <c:v>2.062966834660215E-2</c:v>
                </c:pt>
                <c:pt idx="2">
                  <c:v>8.0083321202325128E-2</c:v>
                </c:pt>
                <c:pt idx="3">
                  <c:v>2.8380127651671069E-2</c:v>
                </c:pt>
                <c:pt idx="4">
                  <c:v>0.14083598542271125</c:v>
                </c:pt>
                <c:pt idx="5">
                  <c:v>0.28115211531318074</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703903842099452E-3</c:v>
                </c:pt>
                <c:pt idx="1">
                  <c:v>1.3804250705271718E-5</c:v>
                </c:pt>
                <c:pt idx="2">
                  <c:v>7.2152308572690678E-3</c:v>
                </c:pt>
                <c:pt idx="4">
                  <c:v>4.8225463571837318E-3</c:v>
                </c:pt>
                <c:pt idx="5">
                  <c:v>2.9913968144809101E-2</c:v>
                </c:pt>
                <c:pt idx="6">
                  <c:v>0.12019831688535947</c:v>
                </c:pt>
                <c:pt idx="7">
                  <c:v>4.8305779212304355E-2</c:v>
                </c:pt>
                <c:pt idx="8">
                  <c:v>1.4731331633318944E-3</c:v>
                </c:pt>
                <c:pt idx="9">
                  <c:v>6.298973716706656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0092651620870016E-3</c:v>
                </c:pt>
                <c:pt idx="2">
                  <c:v>4.5795287981768351E-2</c:v>
                </c:pt>
                <c:pt idx="3">
                  <c:v>1.8224748260664411E-3</c:v>
                </c:pt>
                <c:pt idx="4">
                  <c:v>2.6213174023913981E-2</c:v>
                </c:pt>
                <c:pt idx="5">
                  <c:v>8.54414097402792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8.6260880259419516E-4</c:v>
                </c:pt>
                <c:pt idx="2">
                  <c:v>1.0020160480689108E-2</c:v>
                </c:pt>
                <c:pt idx="3">
                  <c:v>1.4463089943477869E-4</c:v>
                </c:pt>
                <c:pt idx="4">
                  <c:v>7.3316728492977407E-2</c:v>
                </c:pt>
                <c:pt idx="5">
                  <c:v>2.2879918078046724E-2</c:v>
                </c:pt>
                <c:pt idx="6">
                  <c:v>6.901042973887378E-2</c:v>
                </c:pt>
                <c:pt idx="8">
                  <c:v>2.06328056763078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49833972511972E-2</c:v>
                </c:pt>
                <c:pt idx="1">
                  <c:v>1.9753255293302682E-2</c:v>
                </c:pt>
                <c:pt idx="2">
                  <c:v>1.7052641882598613E-2</c:v>
                </c:pt>
                <c:pt idx="3">
                  <c:v>2.6413021926169847E-2</c:v>
                </c:pt>
                <c:pt idx="4">
                  <c:v>3.648353654863614E-2</c:v>
                </c:pt>
                <c:pt idx="5">
                  <c:v>0.14291681935004569</c:v>
                </c:pt>
                <c:pt idx="6">
                  <c:v>3.1193841798267188E-2</c:v>
                </c:pt>
                <c:pt idx="7">
                  <c:v>2.8138396397843525E-2</c:v>
                </c:pt>
                <c:pt idx="8">
                  <c:v>6.0849764574778878E-2</c:v>
                </c:pt>
                <c:pt idx="9">
                  <c:v>8.7393456283192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c:v>
                </c:pt>
                <c:pt idx="5">
                  <c:v>0.23404232341194106</c:v>
                </c:pt>
                <c:pt idx="6">
                  <c:v>0.17198108201208442</c:v>
                </c:pt>
                <c:pt idx="7">
                  <c:v>0.22892217743061699</c:v>
                </c:pt>
                <c:pt idx="8">
                  <c:v>4.438874975561162E-2</c:v>
                </c:pt>
                <c:pt idx="9">
                  <c:v>3.190008472130415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0186868966144414E-6</c:v>
                </c:pt>
                <c:pt idx="1">
                  <c:v>4.3671889571902413E-3</c:v>
                </c:pt>
                <c:pt idx="2">
                  <c:v>8.9858546574477774E-4</c:v>
                </c:pt>
                <c:pt idx="4">
                  <c:v>8.381024800962305E-5</c:v>
                </c:pt>
                <c:pt idx="5">
                  <c:v>5.8653258897612692E-3</c:v>
                </c:pt>
                <c:pt idx="6">
                  <c:v>8.6257971841792122E-4</c:v>
                </c:pt>
                <c:pt idx="7">
                  <c:v>7.3825984223169303E-3</c:v>
                </c:pt>
                <c:pt idx="8">
                  <c:v>7.83169278433611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3.684982968194787E-4</c:v>
                </c:pt>
                <c:pt idx="2">
                  <c:v>3.151302124392566E-3</c:v>
                </c:pt>
                <c:pt idx="3">
                  <c:v>2.694742693425051E-2</c:v>
                </c:pt>
                <c:pt idx="4">
                  <c:v>8.6751484025290072E-3</c:v>
                </c:pt>
                <c:pt idx="5">
                  <c:v>1.3546348823737602E-2</c:v>
                </c:pt>
                <c:pt idx="6">
                  <c:v>2.6816456172096065E-2</c:v>
                </c:pt>
                <c:pt idx="7">
                  <c:v>5.3942250127717771E-2</c:v>
                </c:pt>
                <c:pt idx="8">
                  <c:v>6.9784422458986806E-2</c:v>
                </c:pt>
                <c:pt idx="9">
                  <c:v>8.2354504940840095E-2</c:v>
                </c:pt>
                <c:pt idx="10">
                  <c:v>5.306670443034391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8.0394819406596425E-5</c:v>
                </c:pt>
                <c:pt idx="1">
                  <c:v>8.287876748152487E-4</c:v>
                </c:pt>
                <c:pt idx="2">
                  <c:v>2.2554478515542491E-4</c:v>
                </c:pt>
                <c:pt idx="3">
                  <c:v>1.685169022805455E-3</c:v>
                </c:pt>
                <c:pt idx="4">
                  <c:v>5.4788822180763929E-3</c:v>
                </c:pt>
                <c:pt idx="5">
                  <c:v>2.2981251844166137E-2</c:v>
                </c:pt>
                <c:pt idx="6">
                  <c:v>4.8888295526848232E-3</c:v>
                </c:pt>
                <c:pt idx="7">
                  <c:v>1.0621741460461074E-2</c:v>
                </c:pt>
                <c:pt idx="8">
                  <c:v>7.8069970505819054E-3</c:v>
                </c:pt>
                <c:pt idx="9">
                  <c:v>1.7131709374464308E-3</c:v>
                </c:pt>
                <c:pt idx="10">
                  <c:v>1.040119332085452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219451902022576E-6</c:v>
                </c:pt>
                <c:pt idx="1">
                  <c:v>1.1839002514531685E-5</c:v>
                </c:pt>
                <c:pt idx="2">
                  <c:v>5.089678604086041E-4</c:v>
                </c:pt>
                <c:pt idx="3">
                  <c:v>1.287800579494736E-3</c:v>
                </c:pt>
                <c:pt idx="4">
                  <c:v>5.7178932217306199E-3</c:v>
                </c:pt>
                <c:pt idx="5">
                  <c:v>2.0622587900266887E-2</c:v>
                </c:pt>
                <c:pt idx="6">
                  <c:v>6.1657111104335193E-4</c:v>
                </c:pt>
                <c:pt idx="7">
                  <c:v>1.3292646877186518E-2</c:v>
                </c:pt>
                <c:pt idx="8">
                  <c:v>6.9666693670018852E-4</c:v>
                </c:pt>
                <c:pt idx="9">
                  <c:v>2.6219451902022576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321127877562565E-2</c:v>
                </c:pt>
                <c:pt idx="1">
                  <c:v>6.4680800396378314E-3</c:v>
                </c:pt>
                <c:pt idx="2">
                  <c:v>9.51847177348643E-3</c:v>
                </c:pt>
                <c:pt idx="3">
                  <c:v>4.3613746787333721E-2</c:v>
                </c:pt>
                <c:pt idx="4">
                  <c:v>3.4933503991299193E-2</c:v>
                </c:pt>
                <c:pt idx="5">
                  <c:v>6.2558968251687927E-2</c:v>
                </c:pt>
                <c:pt idx="6">
                  <c:v>8.783829180638851E-2</c:v>
                </c:pt>
                <c:pt idx="7">
                  <c:v>0.10160406179329126</c:v>
                </c:pt>
                <c:pt idx="8">
                  <c:v>0.12858118685672465</c:v>
                </c:pt>
                <c:pt idx="9">
                  <c:v>3.1013736181105436E-2</c:v>
                </c:pt>
                <c:pt idx="10">
                  <c:v>4.128781690915337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7381646200109857E-3</c:v>
                </c:pt>
                <c:pt idx="4">
                  <c:v>2.0456936440401821E-2</c:v>
                </c:pt>
                <c:pt idx="6">
                  <c:v>2.1934438744635094E-2</c:v>
                </c:pt>
                <c:pt idx="7">
                  <c:v>0.21666793903790116</c:v>
                </c:pt>
                <c:pt idx="8">
                  <c:v>4.7464412397240502E-3</c:v>
                </c:pt>
                <c:pt idx="9">
                  <c:v>1.84489484317248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2037314613959463E-3</c:v>
                </c:pt>
                <c:pt idx="1">
                  <c:v>7.9541946355587423E-2</c:v>
                </c:pt>
                <c:pt idx="4">
                  <c:v>2.6674549161631492E-2</c:v>
                </c:pt>
                <c:pt idx="5">
                  <c:v>0.154285129083613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4451499380882779E-3</c:v>
                </c:pt>
                <c:pt idx="4">
                  <c:v>3.3661356844271073E-2</c:v>
                </c:pt>
                <c:pt idx="6">
                  <c:v>0.11889825064471982</c:v>
                </c:pt>
                <c:pt idx="8">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176211002597501E-2</c:v>
                </c:pt>
                <c:pt idx="1">
                  <c:v>1.1987971436817459E-2</c:v>
                </c:pt>
                <c:pt idx="2">
                  <c:v>4.8661682695440873E-3</c:v>
                </c:pt>
                <c:pt idx="3">
                  <c:v>3.1255644207762709E-2</c:v>
                </c:pt>
                <c:pt idx="4">
                  <c:v>3.9757752930333019E-2</c:v>
                </c:pt>
                <c:pt idx="5">
                  <c:v>7.9757194328327646E-2</c:v>
                </c:pt>
                <c:pt idx="6">
                  <c:v>3.1148392622729518E-2</c:v>
                </c:pt>
                <c:pt idx="7">
                  <c:v>1.2254238392715829E-2</c:v>
                </c:pt>
                <c:pt idx="8">
                  <c:v>1.5913826330636528E-2</c:v>
                </c:pt>
                <c:pt idx="9">
                  <c:v>1.3451136289579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79075732324675E-2</c:v>
                </c:pt>
                <c:pt idx="1">
                  <c:v>5.824230887877261E-3</c:v>
                </c:pt>
                <c:pt idx="2">
                  <c:v>8.8857628345494141E-3</c:v>
                </c:pt>
                <c:pt idx="3">
                  <c:v>2.8017279950396302E-2</c:v>
                </c:pt>
                <c:pt idx="4">
                  <c:v>0.10832678515330775</c:v>
                </c:pt>
                <c:pt idx="5">
                  <c:v>6.6750441766783075E-2</c:v>
                </c:pt>
                <c:pt idx="6">
                  <c:v>0.21478575642534897</c:v>
                </c:pt>
                <c:pt idx="7">
                  <c:v>0.26519036993065692</c:v>
                </c:pt>
                <c:pt idx="8">
                  <c:v>0.15819348490249532</c:v>
                </c:pt>
                <c:pt idx="9">
                  <c:v>4.991458045757674E-2</c:v>
                </c:pt>
                <c:pt idx="10">
                  <c:v>1.732055036776149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28367928131451E-2</c:v>
                </c:pt>
                <c:pt idx="3">
                  <c:v>7.8465183354599899E-3</c:v>
                </c:pt>
                <c:pt idx="4">
                  <c:v>4.0169583068061653E-6</c:v>
                </c:pt>
                <c:pt idx="5">
                  <c:v>2.9226348535045792E-2</c:v>
                </c:pt>
                <c:pt idx="6">
                  <c:v>1.1542442769014174E-2</c:v>
                </c:pt>
                <c:pt idx="7">
                  <c:v>0.12413972085654607</c:v>
                </c:pt>
                <c:pt idx="8">
                  <c:v>0.13690292442813845</c:v>
                </c:pt>
                <c:pt idx="9">
                  <c:v>4.9094188454809916E-2</c:v>
                </c:pt>
                <c:pt idx="10">
                  <c:v>1.73205503677614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4.5296979286805553E-2</c:v>
                </c:pt>
                <c:pt idx="6">
                  <c:v>8.96656825477472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8627432245838707E-3</c:v>
                </c:pt>
                <c:pt idx="7">
                  <c:v>4.10951691664879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50707804193224E-2</c:v>
                </c:pt>
                <c:pt idx="1">
                  <c:v>5.824230887877261E-3</c:v>
                </c:pt>
                <c:pt idx="2">
                  <c:v>8.8857628345494141E-3</c:v>
                </c:pt>
                <c:pt idx="3">
                  <c:v>2.0170761614936313E-2</c:v>
                </c:pt>
                <c:pt idx="4">
                  <c:v>6.3025788908195393E-2</c:v>
                </c:pt>
                <c:pt idx="5">
                  <c:v>3.2661350007153415E-2</c:v>
                </c:pt>
                <c:pt idx="6">
                  <c:v>0.1135776311085876</c:v>
                </c:pt>
                <c:pt idx="7">
                  <c:v>9.9955479907622879E-2</c:v>
                </c:pt>
                <c:pt idx="8">
                  <c:v>2.129056047435687E-2</c:v>
                </c:pt>
                <c:pt idx="9">
                  <c:v>8.203920027668234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448429682449359E-2</c:v>
                </c:pt>
                <c:pt idx="1">
                  <c:v>6.0672713405118314E-3</c:v>
                </c:pt>
                <c:pt idx="2">
                  <c:v>8.8689164590058552E-3</c:v>
                </c:pt>
                <c:pt idx="3">
                  <c:v>2.6540558614162744E-2</c:v>
                </c:pt>
                <c:pt idx="4">
                  <c:v>0.10919847111894317</c:v>
                </c:pt>
                <c:pt idx="5">
                  <c:v>6.8477411550126682E-2</c:v>
                </c:pt>
                <c:pt idx="6">
                  <c:v>0.21762123672328099</c:v>
                </c:pt>
                <c:pt idx="7">
                  <c:v>0.26121260760034987</c:v>
                </c:pt>
                <c:pt idx="8">
                  <c:v>0.1583424397951064</c:v>
                </c:pt>
                <c:pt idx="9">
                  <c:v>5.2444286750582443E-2</c:v>
                </c:pt>
                <c:pt idx="10">
                  <c:v>1.477837036548063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292093916979203E-2</c:v>
                </c:pt>
                <c:pt idx="3">
                  <c:v>7.2800152687201468E-3</c:v>
                </c:pt>
                <c:pt idx="4">
                  <c:v>5.7254112975613821E-4</c:v>
                </c:pt>
                <c:pt idx="5">
                  <c:v>2.9234110091203337E-2</c:v>
                </c:pt>
                <c:pt idx="6">
                  <c:v>1.1545965090023026E-2</c:v>
                </c:pt>
                <c:pt idx="7">
                  <c:v>0.12426151557832789</c:v>
                </c:pt>
                <c:pt idx="8">
                  <c:v>0.13685275658517371</c:v>
                </c:pt>
                <c:pt idx="9">
                  <c:v>5.168465357297379E-2</c:v>
                </c:pt>
                <c:pt idx="10">
                  <c:v>1.474837823662067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4.5309604154125105E-2</c:v>
                </c:pt>
                <c:pt idx="6">
                  <c:v>8.96906362134148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5.9912506215474071E-5</c:v>
                </c:pt>
                <c:pt idx="5">
                  <c:v>4.8040861046753994E-3</c:v>
                </c:pt>
                <c:pt idx="6">
                  <c:v>6.8594438253884085E-4</c:v>
                </c:pt>
                <c:pt idx="7">
                  <c:v>4.042045664092461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156335765470163E-2</c:v>
                </c:pt>
                <c:pt idx="1">
                  <c:v>6.0672713405118322E-3</c:v>
                </c:pt>
                <c:pt idx="2">
                  <c:v>8.8689164590058534E-3</c:v>
                </c:pt>
                <c:pt idx="3">
                  <c:v>1.9260543345442596E-2</c:v>
                </c:pt>
                <c:pt idx="4">
                  <c:v>6.3256413328846475E-2</c:v>
                </c:pt>
                <c:pt idx="5">
                  <c:v>3.4439215354247939E-2</c:v>
                </c:pt>
                <c:pt idx="6">
                  <c:v>0.11569869103730432</c:v>
                </c:pt>
                <c:pt idx="7">
                  <c:v>9.6530635381097352E-2</c:v>
                </c:pt>
                <c:pt idx="8">
                  <c:v>2.1489683209932702E-2</c:v>
                </c:pt>
                <c:pt idx="9">
                  <c:v>7.5963317760865143E-4</c:v>
                </c:pt>
                <c:pt idx="10">
                  <c:v>2.999212885996187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3.5000000000000001E-3</c:v>
                </c:pt>
                <c:pt idx="5">
                  <c:v>0.30730000000000002</c:v>
                </c:pt>
                <c:pt idx="7">
                  <c:v>0.22969999999999999</c:v>
                </c:pt>
                <c:pt idx="8">
                  <c:v>0.4158</c:v>
                </c:pt>
                <c:pt idx="9">
                  <c:v>4.0800000000000003E-2</c:v>
                </c:pt>
                <c:pt idx="10">
                  <c:v>2.5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54186806456609E-2</c:v>
                </c:pt>
                <c:pt idx="1">
                  <c:v>1.9388419241720661E-2</c:v>
                </c:pt>
                <c:pt idx="2">
                  <c:v>2.1087854795020847E-2</c:v>
                </c:pt>
                <c:pt idx="3">
                  <c:v>4.6570673243805184E-2</c:v>
                </c:pt>
                <c:pt idx="4">
                  <c:v>7.462882923789696E-2</c:v>
                </c:pt>
                <c:pt idx="5">
                  <c:v>9.6005516019994852E-2</c:v>
                </c:pt>
                <c:pt idx="6">
                  <c:v>0.1265381674943396</c:v>
                </c:pt>
                <c:pt idx="7">
                  <c:v>0.17825652938472852</c:v>
                </c:pt>
                <c:pt idx="8">
                  <c:v>0.23031073586023193</c:v>
                </c:pt>
                <c:pt idx="9">
                  <c:v>0.10325666844976601</c:v>
                </c:pt>
                <c:pt idx="10">
                  <c:v>8.341473820792935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5.928348237372026E-5</c:v>
                </c:pt>
                <c:pt idx="5">
                  <c:v>5.208312875221814E-3</c:v>
                </c:pt>
                <c:pt idx="6">
                  <c:v>4.9403443825119444E-6</c:v>
                </c:pt>
                <c:pt idx="7">
                  <c:v>3.893851609747138E-3</c:v>
                </c:pt>
                <c:pt idx="8">
                  <c:v>7.0475267534229414E-3</c:v>
                </c:pt>
                <c:pt idx="9">
                  <c:v>6.9206110098032382E-4</c:v>
                </c:pt>
                <c:pt idx="10">
                  <c:v>4.276213327984739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924641522600352E-3</c:v>
                </c:pt>
                <c:pt idx="1">
                  <c:v>2.1422101798383862E-3</c:v>
                </c:pt>
                <c:pt idx="2">
                  <c:v>2.7074550203117368E-3</c:v>
                </c:pt>
                <c:pt idx="3">
                  <c:v>7.9417700502922572E-3</c:v>
                </c:pt>
                <c:pt idx="4">
                  <c:v>2.459290169199415E-2</c:v>
                </c:pt>
                <c:pt idx="5">
                  <c:v>1.4846155559474121E-2</c:v>
                </c:pt>
                <c:pt idx="6">
                  <c:v>3.1597286585746169E-2</c:v>
                </c:pt>
                <c:pt idx="7">
                  <c:v>5.7406291304896682E-2</c:v>
                </c:pt>
                <c:pt idx="8">
                  <c:v>0.11443574382985335</c:v>
                </c:pt>
                <c:pt idx="9">
                  <c:v>7.4895677407709887E-2</c:v>
                </c:pt>
                <c:pt idx="10">
                  <c:v>7.093295097313226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6.1071447493887582E-4</c:v>
                </c:pt>
                <c:pt idx="3">
                  <c:v>2.5754487323157918E-4</c:v>
                </c:pt>
                <c:pt idx="4">
                  <c:v>7.6761104761007221E-4</c:v>
                </c:pt>
                <c:pt idx="5">
                  <c:v>1.7701941851515909E-2</c:v>
                </c:pt>
                <c:pt idx="6">
                  <c:v>8.2285753127785636E-3</c:v>
                </c:pt>
                <c:pt idx="7">
                  <c:v>2.0732456251415258E-3</c:v>
                </c:pt>
                <c:pt idx="8">
                  <c:v>9.6053026033595973E-4</c:v>
                </c:pt>
                <c:pt idx="10">
                  <c:v>6.3214040651199161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7871533932358433E-5</c:v>
                </c:pt>
                <c:pt idx="4">
                  <c:v>4.6586056063942253E-3</c:v>
                </c:pt>
                <c:pt idx="5">
                  <c:v>2.7607539107274893E-5</c:v>
                </c:pt>
                <c:pt idx="6">
                  <c:v>1.0789796009324663E-2</c:v>
                </c:pt>
                <c:pt idx="7">
                  <c:v>2.41593828962384E-3</c:v>
                </c:pt>
                <c:pt idx="8">
                  <c:v>1.429646064475857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01532378373694E-2</c:v>
                </c:pt>
                <c:pt idx="1">
                  <c:v>1.7246209061882276E-2</c:v>
                </c:pt>
                <c:pt idx="2">
                  <c:v>1.7769685299770237E-2</c:v>
                </c:pt>
                <c:pt idx="3">
                  <c:v>3.8371358320281351E-2</c:v>
                </c:pt>
                <c:pt idx="4">
                  <c:v>4.45504274095248E-2</c:v>
                </c:pt>
                <c:pt idx="5">
                  <c:v>5.8221498194675723E-2</c:v>
                </c:pt>
                <c:pt idx="6">
                  <c:v>7.5917569242107699E-2</c:v>
                </c:pt>
                <c:pt idx="7">
                  <c:v>0.11246720255531933</c:v>
                </c:pt>
                <c:pt idx="8">
                  <c:v>9.3570474371861112E-2</c:v>
                </c:pt>
                <c:pt idx="9">
                  <c:v>2.7668929941075796E-2</c:v>
                </c:pt>
                <c:pt idx="10">
                  <c:v>1.243270369745211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3.7000000000000002E-3</c:v>
                </c:pt>
                <c:pt idx="5">
                  <c:v>0.1583</c:v>
                </c:pt>
                <c:pt idx="6">
                  <c:v>0.13350000000000001</c:v>
                </c:pt>
                <c:pt idx="7">
                  <c:v>0.27910000000000001</c:v>
                </c:pt>
                <c:pt idx="8">
                  <c:v>0.37440000000000001</c:v>
                </c:pt>
                <c:pt idx="9">
                  <c:v>4.7E-2</c:v>
                </c:pt>
                <c:pt idx="10">
                  <c:v>4.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84E-2</c:v>
                </c:pt>
                <c:pt idx="1">
                  <c:v>2.5712148835382802E-2</c:v>
                </c:pt>
                <c:pt idx="2">
                  <c:v>3.3589224880169175E-2</c:v>
                </c:pt>
                <c:pt idx="3">
                  <c:v>4.7555465818613675E-2</c:v>
                </c:pt>
                <c:pt idx="4">
                  <c:v>7.2169314610381535E-2</c:v>
                </c:pt>
                <c:pt idx="5">
                  <c:v>0.11538975237199361</c:v>
                </c:pt>
                <c:pt idx="6">
                  <c:v>0.13910064653920556</c:v>
                </c:pt>
                <c:pt idx="7">
                  <c:v>0.18415888055193388</c:v>
                </c:pt>
                <c:pt idx="8">
                  <c:v>0.19567579739573701</c:v>
                </c:pt>
                <c:pt idx="9">
                  <c:v>0.13733259935179568</c:v>
                </c:pt>
                <c:pt idx="10">
                  <c:v>2.53689024590849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8.6233022369722745E-5</c:v>
                </c:pt>
                <c:pt idx="5">
                  <c:v>3.6642986528543759E-3</c:v>
                </c:pt>
                <c:pt idx="6">
                  <c:v>3.0894232753136022E-3</c:v>
                </c:pt>
                <c:pt idx="7">
                  <c:v>6.4601847886509864E-3</c:v>
                </c:pt>
                <c:pt idx="8">
                  <c:v>8.665698137942348E-3</c:v>
                </c:pt>
                <c:pt idx="9">
                  <c:v>1.0880785308658759E-3</c:v>
                </c:pt>
                <c:pt idx="10">
                  <c:v>9.276569711450426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4375916424244955E-3</c:v>
                </c:pt>
                <c:pt idx="1">
                  <c:v>1.5459962969385226E-3</c:v>
                </c:pt>
                <c:pt idx="2">
                  <c:v>9.0189987424751251E-3</c:v>
                </c:pt>
                <c:pt idx="3">
                  <c:v>2.8217122911730575E-3</c:v>
                </c:pt>
                <c:pt idx="4">
                  <c:v>1.0145338244269071E-2</c:v>
                </c:pt>
                <c:pt idx="5">
                  <c:v>3.2002445476550817E-2</c:v>
                </c:pt>
                <c:pt idx="6">
                  <c:v>3.5358824811018041E-2</c:v>
                </c:pt>
                <c:pt idx="7">
                  <c:v>5.0030530281701201E-2</c:v>
                </c:pt>
                <c:pt idx="8">
                  <c:v>7.5155446132228909E-2</c:v>
                </c:pt>
                <c:pt idx="9">
                  <c:v>0.10334522445991616</c:v>
                </c:pt>
                <c:pt idx="10">
                  <c:v>1.5435157678479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1548435047794E-7</c:v>
                </c:pt>
                <c:pt idx="2">
                  <c:v>2.1067640137861997E-3</c:v>
                </c:pt>
                <c:pt idx="3">
                  <c:v>6.2980474903235128E-5</c:v>
                </c:pt>
                <c:pt idx="4">
                  <c:v>4.4969980708149324E-3</c:v>
                </c:pt>
                <c:pt idx="5">
                  <c:v>1.7708035214814292E-2</c:v>
                </c:pt>
                <c:pt idx="6">
                  <c:v>6.141443449002454E-3</c:v>
                </c:pt>
                <c:pt idx="7">
                  <c:v>4.1019535459826057E-3</c:v>
                </c:pt>
                <c:pt idx="8">
                  <c:v>1.0982056779915682E-3</c:v>
                </c:pt>
                <c:pt idx="10">
                  <c:v>6.5841469029807213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1446732582999091E-7</c:v>
                </c:pt>
                <c:pt idx="1">
                  <c:v>1.8337814227767542E-4</c:v>
                </c:pt>
                <c:pt idx="2">
                  <c:v>1.5481924423550219E-3</c:v>
                </c:pt>
                <c:pt idx="3">
                  <c:v>6.3462039836653791E-3</c:v>
                </c:pt>
                <c:pt idx="4">
                  <c:v>1.3772328161122062E-2</c:v>
                </c:pt>
                <c:pt idx="5">
                  <c:v>5.3123556608088748E-5</c:v>
                </c:pt>
                <c:pt idx="6">
                  <c:v>1.296883919293955E-4</c:v>
                </c:pt>
                <c:pt idx="7">
                  <c:v>1.5682408479736093E-3</c:v>
                </c:pt>
                <c:pt idx="8">
                  <c:v>2.426097283254023E-3</c:v>
                </c:pt>
                <c:pt idx="9">
                  <c:v>1.94028589678392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09319527516815E-2</c:v>
                </c:pt>
                <c:pt idx="1">
                  <c:v>2.3982774396166601E-2</c:v>
                </c:pt>
                <c:pt idx="2">
                  <c:v>2.0915269681552825E-2</c:v>
                </c:pt>
                <c:pt idx="3">
                  <c:v>3.8324569068872008E-2</c:v>
                </c:pt>
                <c:pt idx="4">
                  <c:v>4.366841711180576E-2</c:v>
                </c:pt>
                <c:pt idx="5">
                  <c:v>6.1961849471166043E-2</c:v>
                </c:pt>
                <c:pt idx="6">
                  <c:v>9.438126661194203E-2</c:v>
                </c:pt>
                <c:pt idx="7">
                  <c:v>0.12199797108762549</c:v>
                </c:pt>
                <c:pt idx="8">
                  <c:v>0.10833035016432015</c:v>
                </c:pt>
                <c:pt idx="9">
                  <c:v>3.2705267771335242E-2</c:v>
                </c:pt>
                <c:pt idx="10">
                  <c:v>9.834394936587716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6999999999999999E-3</c:v>
                </c:pt>
                <c:pt idx="5">
                  <c:v>0.3377</c:v>
                </c:pt>
                <c:pt idx="6">
                  <c:v>3.1699999999999999E-2</c:v>
                </c:pt>
                <c:pt idx="7">
                  <c:v>0.14799999999999999</c:v>
                </c:pt>
                <c:pt idx="8">
                  <c:v>0.43740000000000001</c:v>
                </c:pt>
                <c:pt idx="9">
                  <c:v>4.34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743100656871526E-2</c:v>
                </c:pt>
                <c:pt idx="1">
                  <c:v>1.7668436403600652E-2</c:v>
                </c:pt>
                <c:pt idx="2">
                  <c:v>1.9761089853989711E-2</c:v>
                </c:pt>
                <c:pt idx="3">
                  <c:v>7.1929017483309335E-2</c:v>
                </c:pt>
                <c:pt idx="4">
                  <c:v>8.5834699757590782E-2</c:v>
                </c:pt>
                <c:pt idx="5">
                  <c:v>9.9113253128779624E-2</c:v>
                </c:pt>
                <c:pt idx="6">
                  <c:v>0.10772432930876731</c:v>
                </c:pt>
                <c:pt idx="7">
                  <c:v>0.18687023002152806</c:v>
                </c:pt>
                <c:pt idx="8">
                  <c:v>0.17963631715180861</c:v>
                </c:pt>
                <c:pt idx="9">
                  <c:v>0.14017528983490166</c:v>
                </c:pt>
                <c:pt idx="10">
                  <c:v>5.954423639885274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2.6930529828344946E-5</c:v>
                </c:pt>
                <c:pt idx="5">
                  <c:v>5.2042993999793629E-3</c:v>
                </c:pt>
                <c:pt idx="6">
                  <c:v>4.8849164880081502E-4</c:v>
                </c:pt>
                <c:pt idx="7">
                  <c:v>2.2808915986653336E-3</c:v>
                </c:pt>
                <c:pt idx="8">
                  <c:v>6.7411665664567867E-3</c:v>
                </c:pt>
                <c:pt idx="9">
                  <c:v>6.6892867869542544E-4</c:v>
                </c:pt>
                <c:pt idx="10">
                  <c:v>2.865829430213726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529280227511586E-2</c:v>
                </c:pt>
                <c:pt idx="1">
                  <c:v>3.0797470635478524E-4</c:v>
                </c:pt>
                <c:pt idx="2">
                  <c:v>2.0207569545585679E-3</c:v>
                </c:pt>
                <c:pt idx="3">
                  <c:v>2.9722418103653937E-2</c:v>
                </c:pt>
                <c:pt idx="4">
                  <c:v>3.7124607517426071E-2</c:v>
                </c:pt>
                <c:pt idx="5">
                  <c:v>1.7737359601397294E-2</c:v>
                </c:pt>
                <c:pt idx="6">
                  <c:v>2.4997274361985424E-2</c:v>
                </c:pt>
                <c:pt idx="7">
                  <c:v>6.518028126930947E-2</c:v>
                </c:pt>
                <c:pt idx="8">
                  <c:v>8.730539106467726E-2</c:v>
                </c:pt>
                <c:pt idx="9">
                  <c:v>0.10904952741577124</c:v>
                </c:pt>
                <c:pt idx="10">
                  <c:v>5.257837502704109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9114806739003417E-3</c:v>
                </c:pt>
                <c:pt idx="1">
                  <c:v>2.4584407542879591E-4</c:v>
                </c:pt>
                <c:pt idx="2">
                  <c:v>1.1112446508019218E-3</c:v>
                </c:pt>
                <c:pt idx="3">
                  <c:v>4.9339662609483473E-4</c:v>
                </c:pt>
                <c:pt idx="4">
                  <c:v>3.5644469995640771E-3</c:v>
                </c:pt>
                <c:pt idx="5">
                  <c:v>1.3974200398110552E-2</c:v>
                </c:pt>
                <c:pt idx="6">
                  <c:v>7.7427023065807284E-3</c:v>
                </c:pt>
                <c:pt idx="7">
                  <c:v>1.8775850763144888E-2</c:v>
                </c:pt>
                <c:pt idx="8">
                  <c:v>1.1124022805554148E-2</c:v>
                </c:pt>
                <c:pt idx="9">
                  <c:v>1.227837063322857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794835298647053E-4</c:v>
                </c:pt>
                <c:pt idx="1">
                  <c:v>1.8701052615016311E-3</c:v>
                </c:pt>
                <c:pt idx="2">
                  <c:v>1.0809137041304193E-4</c:v>
                </c:pt>
                <c:pt idx="3">
                  <c:v>8.0761002267077753E-4</c:v>
                </c:pt>
                <c:pt idx="4">
                  <c:v>2.6257307916714642E-3</c:v>
                </c:pt>
                <c:pt idx="5">
                  <c:v>1.1132804919394621E-2</c:v>
                </c:pt>
                <c:pt idx="6">
                  <c:v>3.8837858218517484E-3</c:v>
                </c:pt>
                <c:pt idx="7">
                  <c:v>6.9727421180493833E-3</c:v>
                </c:pt>
                <c:pt idx="8">
                  <c:v>4.1590845614916539E-3</c:v>
                </c:pt>
                <c:pt idx="9">
                  <c:v>1.66757103333694E-3</c:v>
                </c:pt>
                <c:pt idx="10">
                  <c:v>4.984727264731007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316439140247313E-2</c:v>
                </c:pt>
                <c:pt idx="1">
                  <c:v>1.5244512360315442E-2</c:v>
                </c:pt>
                <c:pt idx="2">
                  <c:v>1.652099687821618E-2</c:v>
                </c:pt>
                <c:pt idx="3">
                  <c:v>4.0905592730889784E-2</c:v>
                </c:pt>
                <c:pt idx="4">
                  <c:v>4.2492983919100828E-2</c:v>
                </c:pt>
                <c:pt idx="5">
                  <c:v>5.1064588809897782E-2</c:v>
                </c:pt>
                <c:pt idx="6">
                  <c:v>7.0612075169548594E-2</c:v>
                </c:pt>
                <c:pt idx="7">
                  <c:v>9.3660464272358954E-2</c:v>
                </c:pt>
                <c:pt idx="8">
                  <c:v>7.0306652153628788E-2</c:v>
                </c:pt>
                <c:pt idx="9">
                  <c:v>1.6510892073869455E-2</c:v>
                </c:pt>
                <c:pt idx="10">
                  <c:v>1.980847524137620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4.3E-3</c:v>
                </c:pt>
                <c:pt idx="5">
                  <c:v>0.15179999999999999</c:v>
                </c:pt>
                <c:pt idx="7">
                  <c:v>0.2767</c:v>
                </c:pt>
                <c:pt idx="8">
                  <c:v>0.51339999999999997</c:v>
                </c:pt>
                <c:pt idx="9">
                  <c:v>5.0599999999999999E-2</c:v>
                </c:pt>
                <c:pt idx="10">
                  <c:v>3.0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687491382740963E-2</c:v>
                </c:pt>
                <c:pt idx="1">
                  <c:v>1.9844749506181529E-2</c:v>
                </c:pt>
                <c:pt idx="2">
                  <c:v>2.0650975604824384E-2</c:v>
                </c:pt>
                <c:pt idx="3">
                  <c:v>3.8112756164787195E-2</c:v>
                </c:pt>
                <c:pt idx="4">
                  <c:v>6.1780284235111782E-2</c:v>
                </c:pt>
                <c:pt idx="5">
                  <c:v>9.9232697922490468E-2</c:v>
                </c:pt>
                <c:pt idx="6">
                  <c:v>0.13318263902711563</c:v>
                </c:pt>
                <c:pt idx="7">
                  <c:v>0.17852552028295066</c:v>
                </c:pt>
                <c:pt idx="8">
                  <c:v>0.24419319081565979</c:v>
                </c:pt>
                <c:pt idx="9">
                  <c:v>9.5217018324198863E-2</c:v>
                </c:pt>
                <c:pt idx="10">
                  <c:v>9.257267673393883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7.0065420500016847E-5</c:v>
                </c:pt>
                <c:pt idx="5">
                  <c:v>2.4522559047393941E-3</c:v>
                </c:pt>
                <c:pt idx="7">
                  <c:v>4.4686368842103696E-3</c:v>
                </c:pt>
                <c:pt idx="8">
                  <c:v>8.2910066213317049E-3</c:v>
                </c:pt>
                <c:pt idx="9">
                  <c:v>8.1792685096019116E-4</c:v>
                </c:pt>
                <c:pt idx="10">
                  <c:v>5.0539319381454428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4528746413826233E-4</c:v>
                </c:pt>
                <c:pt idx="1">
                  <c:v>2.5300982603143783E-3</c:v>
                </c:pt>
                <c:pt idx="2">
                  <c:v>3.0223198466995805E-3</c:v>
                </c:pt>
                <c:pt idx="3">
                  <c:v>4.7070176191105692E-3</c:v>
                </c:pt>
                <c:pt idx="4">
                  <c:v>1.9775029129540076E-2</c:v>
                </c:pt>
                <c:pt idx="5">
                  <c:v>1.4497321263915357E-2</c:v>
                </c:pt>
                <c:pt idx="6">
                  <c:v>3.3392414012350054E-2</c:v>
                </c:pt>
                <c:pt idx="7">
                  <c:v>5.5172133359177762E-2</c:v>
                </c:pt>
                <c:pt idx="8">
                  <c:v>0.1211944651755948</c:v>
                </c:pt>
                <c:pt idx="9">
                  <c:v>6.6530896493537356E-2</c:v>
                </c:pt>
                <c:pt idx="10">
                  <c:v>7.782081607763105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7.2178564380367223E-4</c:v>
                </c:pt>
                <c:pt idx="3">
                  <c:v>3.0438478169752858E-4</c:v>
                </c:pt>
                <c:pt idx="4">
                  <c:v>9.0721713161539218E-4</c:v>
                </c:pt>
                <c:pt idx="5">
                  <c:v>2.0921409300394236E-2</c:v>
                </c:pt>
                <c:pt idx="6">
                  <c:v>9.7251134096916873E-3</c:v>
                </c:pt>
                <c:pt idx="7">
                  <c:v>2.4503085970832708E-3</c:v>
                </c:pt>
                <c:pt idx="8">
                  <c:v>1.1352227281314876E-3</c:v>
                </c:pt>
                <c:pt idx="10">
                  <c:v>7.4710832805172879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5.6577971142234606E-5</c:v>
                </c:pt>
                <c:pt idx="4">
                  <c:v>5.505870230397265E-3</c:v>
                </c:pt>
                <c:pt idx="5">
                  <c:v>5.1641308007689953E-7</c:v>
                </c:pt>
                <c:pt idx="6">
                  <c:v>1.2545607958702642E-2</c:v>
                </c:pt>
                <c:pt idx="7">
                  <c:v>2.8553270723452491E-3</c:v>
                </c:pt>
                <c:pt idx="8">
                  <c:v>1.64415765498689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285625947460466E-2</c:v>
                </c:pt>
                <c:pt idx="1">
                  <c:v>1.731465124586715E-2</c:v>
                </c:pt>
                <c:pt idx="2">
                  <c:v>1.690687011432113E-2</c:v>
                </c:pt>
                <c:pt idx="3">
                  <c:v>3.3101353763979095E-2</c:v>
                </c:pt>
                <c:pt idx="4">
                  <c:v>3.5522102323059031E-2</c:v>
                </c:pt>
                <c:pt idx="5">
                  <c:v>6.1361195040361402E-2</c:v>
                </c:pt>
                <c:pt idx="6">
                  <c:v>7.7519503646371238E-2</c:v>
                </c:pt>
                <c:pt idx="7">
                  <c:v>0.11357911437013395</c:v>
                </c:pt>
                <c:pt idx="8">
                  <c:v>9.7130919740732846E-2</c:v>
                </c:pt>
                <c:pt idx="9">
                  <c:v>2.7868194979701309E-2</c:v>
                </c:pt>
                <c:pt idx="10">
                  <c:v>1.469385025364581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43E-2</c:v>
                </c:pt>
                <c:pt idx="6">
                  <c:v>0.11600000000000001</c:v>
                </c:pt>
                <c:pt idx="7">
                  <c:v>0.34820000000000001</c:v>
                </c:pt>
                <c:pt idx="8">
                  <c:v>0.45779999999999998</c:v>
                </c:pt>
                <c:pt idx="9">
                  <c:v>5.8599999999999999E-2</c:v>
                </c:pt>
                <c:pt idx="10">
                  <c:v>5.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54186806456609E-2</c:v>
                </c:pt>
                <c:pt idx="1">
                  <c:v>1.9388419241720661E-2</c:v>
                </c:pt>
                <c:pt idx="2">
                  <c:v>2.1087854795020847E-2</c:v>
                </c:pt>
                <c:pt idx="3">
                  <c:v>4.6570673243805184E-2</c:v>
                </c:pt>
                <c:pt idx="4">
                  <c:v>7.462882923789696E-2</c:v>
                </c:pt>
                <c:pt idx="5">
                  <c:v>9.6005516019994852E-2</c:v>
                </c:pt>
                <c:pt idx="6">
                  <c:v>0.1265381674943396</c:v>
                </c:pt>
                <c:pt idx="7">
                  <c:v>0.17825652938472852</c:v>
                </c:pt>
                <c:pt idx="8">
                  <c:v>0.23031073586023193</c:v>
                </c:pt>
                <c:pt idx="9">
                  <c:v>0.10325666844976601</c:v>
                </c:pt>
                <c:pt idx="10">
                  <c:v>8.341473820792935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97551613754901E-2</c:v>
                </c:pt>
                <c:pt idx="1">
                  <c:v>1.1038120023828693E-3</c:v>
                </c:pt>
                <c:pt idx="2">
                  <c:v>1.5282875797082282E-3</c:v>
                </c:pt>
                <c:pt idx="3">
                  <c:v>0.24074556770459496</c:v>
                </c:pt>
                <c:pt idx="4">
                  <c:v>0.25074804702660697</c:v>
                </c:pt>
                <c:pt idx="5">
                  <c:v>9.5015674280341245E-2</c:v>
                </c:pt>
                <c:pt idx="6">
                  <c:v>1.7766219714730622E-2</c:v>
                </c:pt>
                <c:pt idx="7">
                  <c:v>0.15861178296232292</c:v>
                </c:pt>
                <c:pt idx="8">
                  <c:v>0.2067430246170972</c:v>
                </c:pt>
                <c:pt idx="9">
                  <c:v>9.640032498460066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3E-2</c:v>
                </c:pt>
                <c:pt idx="1">
                  <c:v>2.6808770478219595E-2</c:v>
                </c:pt>
                <c:pt idx="2">
                  <c:v>3.3618921453349208E-2</c:v>
                </c:pt>
                <c:pt idx="3">
                  <c:v>4.3193698660743143E-2</c:v>
                </c:pt>
                <c:pt idx="4">
                  <c:v>6.0866470201537952E-2</c:v>
                </c:pt>
                <c:pt idx="5">
                  <c:v>0.11629275414523582</c:v>
                </c:pt>
                <c:pt idx="6">
                  <c:v>0.14114999538782796</c:v>
                </c:pt>
                <c:pt idx="7">
                  <c:v>0.18708207317322248</c:v>
                </c:pt>
                <c:pt idx="8">
                  <c:v>0.19672272953911321</c:v>
                </c:pt>
                <c:pt idx="9">
                  <c:v>0.14353338057932882</c:v>
                </c:pt>
                <c:pt idx="10">
                  <c:v>2.665450562698508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8307076701529591E-7</c:v>
                </c:pt>
                <c:pt idx="5">
                  <c:v>2.7913240113678099E-4</c:v>
                </c:pt>
                <c:pt idx="6">
                  <c:v>2.2620463993700407E-3</c:v>
                </c:pt>
                <c:pt idx="7">
                  <c:v>6.7875633200204372E-3</c:v>
                </c:pt>
                <c:pt idx="8">
                  <c:v>8.9228132955084145E-3</c:v>
                </c:pt>
                <c:pt idx="9">
                  <c:v>1.1432183702208248E-3</c:v>
                </c:pt>
                <c:pt idx="10">
                  <c:v>9.746672327340947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104435276264057E-3</c:v>
                </c:pt>
                <c:pt idx="1">
                  <c:v>1.6243417334473184E-3</c:v>
                </c:pt>
                <c:pt idx="2">
                  <c:v>9.4760486039468118E-3</c:v>
                </c:pt>
                <c:pt idx="3">
                  <c:v>2.9647063472338386E-3</c:v>
                </c:pt>
                <c:pt idx="4">
                  <c:v>1.0659466871129713E-2</c:v>
                </c:pt>
                <c:pt idx="5">
                  <c:v>3.3624212336648938E-2</c:v>
                </c:pt>
                <c:pt idx="6">
                  <c:v>3.4873370054166568E-2</c:v>
                </c:pt>
                <c:pt idx="7">
                  <c:v>5.2565894526394645E-2</c:v>
                </c:pt>
                <c:pt idx="8">
                  <c:v>7.8964049196093095E-2</c:v>
                </c:pt>
                <c:pt idx="9">
                  <c:v>0.10858238236090534</c:v>
                </c:pt>
                <c:pt idx="10">
                  <c:v>1.621735500217142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872159190005607E-7</c:v>
                </c:pt>
                <c:pt idx="2">
                  <c:v>2.2135271066913739E-3</c:v>
                </c:pt>
                <c:pt idx="3">
                  <c:v>6.6172094965712827E-5</c:v>
                </c:pt>
                <c:pt idx="4">
                  <c:v>4.7248894813796873E-3</c:v>
                </c:pt>
                <c:pt idx="5">
                  <c:v>1.8605413657029873E-2</c:v>
                </c:pt>
                <c:pt idx="6">
                  <c:v>6.4526693353509478E-3</c:v>
                </c:pt>
                <c:pt idx="7">
                  <c:v>4.309825545246255E-3</c:v>
                </c:pt>
                <c:pt idx="8">
                  <c:v>1.1538587241140381E-3</c:v>
                </c:pt>
                <c:pt idx="10">
                  <c:v>6.9178073808056378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8.7565470624790579E-6</c:v>
                </c:pt>
                <c:pt idx="2">
                  <c:v>4.2633523011349402E-6</c:v>
                </c:pt>
                <c:pt idx="4">
                  <c:v>5.5903860522293286E-3</c:v>
                </c:pt>
                <c:pt idx="5">
                  <c:v>2.0296215915196892E-3</c:v>
                </c:pt>
                <c:pt idx="6">
                  <c:v>1.1919503798430578E-2</c:v>
                </c:pt>
                <c:pt idx="7">
                  <c:v>7.4942702978698797E-3</c:v>
                </c:pt>
                <c:pt idx="8">
                  <c:v>1.168632186247600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57351958155912E-2</c:v>
                </c:pt>
                <c:pt idx="1">
                  <c:v>2.518442874477228E-2</c:v>
                </c:pt>
                <c:pt idx="2">
                  <c:v>2.1925082390409897E-2</c:v>
                </c:pt>
                <c:pt idx="3">
                  <c:v>4.0162820218543588E-2</c:v>
                </c:pt>
                <c:pt idx="4">
                  <c:v>3.9891344726032202E-2</c:v>
                </c:pt>
                <c:pt idx="5">
                  <c:v>6.1754374158900532E-2</c:v>
                </c:pt>
                <c:pt idx="6">
                  <c:v>8.564240580050983E-2</c:v>
                </c:pt>
                <c:pt idx="7">
                  <c:v>0.11592451948369127</c:v>
                </c:pt>
                <c:pt idx="8">
                  <c:v>9.5995686460921686E-2</c:v>
                </c:pt>
                <c:pt idx="9">
                  <c:v>3.3807779848202664E-2</c:v>
                </c:pt>
                <c:pt idx="10">
                  <c:v>1.033276609415944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3E-3</c:v>
                </c:pt>
                <c:pt idx="5">
                  <c:v>0.17979999999999999</c:v>
                </c:pt>
                <c:pt idx="6">
                  <c:v>2.9499999999999998E-2</c:v>
                </c:pt>
                <c:pt idx="7">
                  <c:v>0.1542</c:v>
                </c:pt>
                <c:pt idx="8">
                  <c:v>0.57679999999999998</c:v>
                </c:pt>
                <c:pt idx="9">
                  <c:v>5.72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407163329055978E-2</c:v>
                </c:pt>
                <c:pt idx="1">
                  <c:v>1.2044393970977332E-2</c:v>
                </c:pt>
                <c:pt idx="2">
                  <c:v>1.4302872009187801E-2</c:v>
                </c:pt>
                <c:pt idx="3">
                  <c:v>7.3534143323884416E-2</c:v>
                </c:pt>
                <c:pt idx="4">
                  <c:v>5.488923808164483E-2</c:v>
                </c:pt>
                <c:pt idx="5">
                  <c:v>0.12557448270961982</c:v>
                </c:pt>
                <c:pt idx="6">
                  <c:v>0.12102272836063067</c:v>
                </c:pt>
                <c:pt idx="7">
                  <c:v>0.18684329868097355</c:v>
                </c:pt>
                <c:pt idx="8">
                  <c:v>0.21470096608732964</c:v>
                </c:pt>
                <c:pt idx="9">
                  <c:v>0.11508403400458216</c:v>
                </c:pt>
                <c:pt idx="10">
                  <c:v>6.759667944211376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5.6193575315453211E-5</c:v>
                </c:pt>
                <c:pt idx="5">
                  <c:v>4.3847375903492266E-3</c:v>
                </c:pt>
                <c:pt idx="6">
                  <c:v>7.2017819521496271E-4</c:v>
                </c:pt>
                <c:pt idx="7">
                  <c:v>3.7612781233017909E-3</c:v>
                </c:pt>
                <c:pt idx="8">
                  <c:v>1.4066201206613426E-2</c:v>
                </c:pt>
                <c:pt idx="9">
                  <c:v>1.3957948219560931E-3</c:v>
                </c:pt>
                <c:pt idx="10">
                  <c:v>5.9798749951981311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3.684982968194787E-4</c:v>
                </c:pt>
                <c:pt idx="2">
                  <c:v>3.151302124392566E-3</c:v>
                </c:pt>
                <c:pt idx="3">
                  <c:v>2.694742693425051E-2</c:v>
                </c:pt>
                <c:pt idx="4">
                  <c:v>8.6751484025290072E-3</c:v>
                </c:pt>
                <c:pt idx="5">
                  <c:v>1.3546348823737602E-2</c:v>
                </c:pt>
                <c:pt idx="6">
                  <c:v>2.6816456172096065E-2</c:v>
                </c:pt>
                <c:pt idx="7">
                  <c:v>5.3942250127717771E-2</c:v>
                </c:pt>
                <c:pt idx="8">
                  <c:v>6.9784422458986806E-2</c:v>
                </c:pt>
                <c:pt idx="9">
                  <c:v>8.2354504940840095E-2</c:v>
                </c:pt>
                <c:pt idx="10">
                  <c:v>5.306670443034391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8.0394819406596425E-5</c:v>
                </c:pt>
                <c:pt idx="1">
                  <c:v>8.287876748152487E-4</c:v>
                </c:pt>
                <c:pt idx="2">
                  <c:v>2.2554478515542491E-4</c:v>
                </c:pt>
                <c:pt idx="3">
                  <c:v>1.685169022805455E-3</c:v>
                </c:pt>
                <c:pt idx="4">
                  <c:v>5.4788822180763929E-3</c:v>
                </c:pt>
                <c:pt idx="5">
                  <c:v>2.2981251844166137E-2</c:v>
                </c:pt>
                <c:pt idx="6">
                  <c:v>4.8888295526848232E-3</c:v>
                </c:pt>
                <c:pt idx="7">
                  <c:v>1.0621741460461074E-2</c:v>
                </c:pt>
                <c:pt idx="8">
                  <c:v>7.8069970505819054E-3</c:v>
                </c:pt>
                <c:pt idx="9">
                  <c:v>1.7131709374464308E-3</c:v>
                </c:pt>
                <c:pt idx="10">
                  <c:v>1.040119332085452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price Des Dieux</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219451902022576E-6</c:v>
                </c:pt>
                <c:pt idx="1">
                  <c:v>1.1839002514531685E-5</c:v>
                </c:pt>
                <c:pt idx="2">
                  <c:v>5.089678604086041E-4</c:v>
                </c:pt>
                <c:pt idx="3">
                  <c:v>1.287800579494736E-3</c:v>
                </c:pt>
                <c:pt idx="4">
                  <c:v>5.7178932217306199E-3</c:v>
                </c:pt>
                <c:pt idx="5">
                  <c:v>2.0622587900266887E-2</c:v>
                </c:pt>
                <c:pt idx="6">
                  <c:v>6.1657111104335193E-4</c:v>
                </c:pt>
                <c:pt idx="7">
                  <c:v>1.3292646877186518E-2</c:v>
                </c:pt>
                <c:pt idx="8">
                  <c:v>6.9666693670018852E-4</c:v>
                </c:pt>
                <c:pt idx="9">
                  <c:v>2.6219451902022576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32414656445918E-2</c:v>
                </c:pt>
                <c:pt idx="1">
                  <c:v>1.0835268996828074E-2</c:v>
                </c:pt>
                <c:pt idx="2">
                  <c:v>1.0417057239231206E-2</c:v>
                </c:pt>
                <c:pt idx="3">
                  <c:v>4.3613746787333721E-2</c:v>
                </c:pt>
                <c:pt idx="4">
                  <c:v>3.4961120663993359E-2</c:v>
                </c:pt>
                <c:pt idx="5">
                  <c:v>6.4039556551099969E-2</c:v>
                </c:pt>
                <c:pt idx="6">
                  <c:v>8.7980693329591464E-2</c:v>
                </c:pt>
                <c:pt idx="7">
                  <c:v>0.10522538209230639</c:v>
                </c:pt>
                <c:pt idx="8">
                  <c:v>0.12234667843444734</c:v>
                </c:pt>
                <c:pt idx="9">
                  <c:v>2.9617941359149344E-2</c:v>
                </c:pt>
                <c:pt idx="10">
                  <c:v>4.128183703415817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99839999999999995</c:v>
                </c:pt>
                <c:pt idx="6">
                  <c:v>1.6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97551613754901E-2</c:v>
                </c:pt>
                <c:pt idx="1">
                  <c:v>1.1038120023828693E-3</c:v>
                </c:pt>
                <c:pt idx="2">
                  <c:v>1.5282875797082282E-3</c:v>
                </c:pt>
                <c:pt idx="3">
                  <c:v>0.24074556770459496</c:v>
                </c:pt>
                <c:pt idx="4">
                  <c:v>0.25074804702660697</c:v>
                </c:pt>
                <c:pt idx="5">
                  <c:v>9.5015674280341245E-2</c:v>
                </c:pt>
                <c:pt idx="6">
                  <c:v>1.7766219714730622E-2</c:v>
                </c:pt>
                <c:pt idx="7">
                  <c:v>0.15861178296232292</c:v>
                </c:pt>
                <c:pt idx="8">
                  <c:v>0.2067430246170972</c:v>
                </c:pt>
                <c:pt idx="9">
                  <c:v>9.640032498460066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5">
                  <c:v>8.809876440111869E-2</c:v>
                </c:pt>
                <c:pt idx="6">
                  <c:v>1.389019956293585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1334301198831354E-5</c:v>
                </c:pt>
                <c:pt idx="3">
                  <c:v>0.23922943724874743</c:v>
                </c:pt>
                <c:pt idx="4">
                  <c:v>0.24634596161734573</c:v>
                </c:pt>
                <c:pt idx="5">
                  <c:v>3.6273384136339092E-3</c:v>
                </c:pt>
                <c:pt idx="6">
                  <c:v>9.0066920487912733E-4</c:v>
                </c:pt>
                <c:pt idx="7">
                  <c:v>4.8577051613370996E-2</c:v>
                </c:pt>
                <c:pt idx="8">
                  <c:v>4.212907765016434E-2</c:v>
                </c:pt>
                <c:pt idx="9">
                  <c:v>6.20163224287161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853428595946522E-6</c:v>
                </c:pt>
                <c:pt idx="7">
                  <c:v>2.9623711605380565E-3</c:v>
                </c:pt>
                <c:pt idx="8">
                  <c:v>0.160223415395686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5.200002237642045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097551613754901E-2</c:v>
                </c:pt>
                <c:pt idx="1">
                  <c:v>1.1038120023828693E-3</c:v>
                </c:pt>
                <c:pt idx="2">
                  <c:v>1.4969532785093971E-3</c:v>
                </c:pt>
                <c:pt idx="3">
                  <c:v>1.5161304558475382E-3</c:v>
                </c:pt>
                <c:pt idx="4">
                  <c:v>4.3981000664016622E-3</c:v>
                </c:pt>
                <c:pt idx="5">
                  <c:v>3.28957146558863E-3</c:v>
                </c:pt>
                <c:pt idx="6">
                  <c:v>1.6726648514222134E-2</c:v>
                </c:pt>
                <c:pt idx="7">
                  <c:v>5.5072337811993388E-2</c:v>
                </c:pt>
                <c:pt idx="8">
                  <c:v>4.3905315712462851E-3</c:v>
                </c:pt>
                <c:pt idx="9">
                  <c:v>3.43840025558844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9400000000000001E-2</c:v>
                </c:pt>
                <c:pt idx="5">
                  <c:v>0.76880000000000004</c:v>
                </c:pt>
                <c:pt idx="6">
                  <c:v>0.211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81E-2</c:v>
                </c:pt>
                <c:pt idx="7">
                  <c:v>0.11515289447697061</c:v>
                </c:pt>
                <c:pt idx="8">
                  <c:v>0.18021104120617157</c:v>
                </c:pt>
                <c:pt idx="9">
                  <c:v>1.54362399823364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3.1334301198831354E-5</c:v>
                </c:pt>
                <c:pt idx="3">
                  <c:v>0.23922943724874743</c:v>
                </c:pt>
                <c:pt idx="4">
                  <c:v>0.24634596161734573</c:v>
                </c:pt>
                <c:pt idx="5">
                  <c:v>3.6273384136339092E-3</c:v>
                </c:pt>
                <c:pt idx="6">
                  <c:v>9.0066920487912733E-4</c:v>
                </c:pt>
                <c:pt idx="7">
                  <c:v>4.8577051613370996E-2</c:v>
                </c:pt>
                <c:pt idx="8">
                  <c:v>4.212907765016434E-2</c:v>
                </c:pt>
                <c:pt idx="9">
                  <c:v>6.20163224287161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3.9853428595946522E-6</c:v>
                </c:pt>
                <c:pt idx="7">
                  <c:v>2.9623711605380565E-3</c:v>
                </c:pt>
                <c:pt idx="8">
                  <c:v>0.160223415395686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8.809876440111869E-2</c:v>
                </c:pt>
                <c:pt idx="6">
                  <c:v>1.389019956293585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8097551613754901E-2</c:v>
                </c:pt>
                <c:pt idx="1">
                  <c:v>1.1038120023828693E-3</c:v>
                </c:pt>
                <c:pt idx="2">
                  <c:v>1.4969532785093971E-3</c:v>
                </c:pt>
                <c:pt idx="3">
                  <c:v>1.5161304558475382E-3</c:v>
                </c:pt>
                <c:pt idx="4">
                  <c:v>4.3981000664016622E-3</c:v>
                </c:pt>
                <c:pt idx="5">
                  <c:v>3.28957146558863E-3</c:v>
                </c:pt>
                <c:pt idx="6">
                  <c:v>1.6726648514222134E-2</c:v>
                </c:pt>
                <c:pt idx="7">
                  <c:v>0.10707236018841385</c:v>
                </c:pt>
                <c:pt idx="8">
                  <c:v>4.3905315712462851E-3</c:v>
                </c:pt>
                <c:pt idx="9">
                  <c:v>3.43840025558844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1.9428990141866858E-3</c:v>
                </c:pt>
                <c:pt idx="5">
                  <c:v>7.6898970512948056E-2</c:v>
                </c:pt>
                <c:pt idx="6">
                  <c:v>2.118923587943136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8526375298133922E-6</c:v>
                </c:pt>
                <c:pt idx="1">
                  <c:v>4.149199193491643E-3</c:v>
                </c:pt>
                <c:pt idx="2">
                  <c:v>3.5030122747466315E-2</c:v>
                </c:pt>
                <c:pt idx="3">
                  <c:v>0.14359216493144436</c:v>
                </c:pt>
                <c:pt idx="4">
                  <c:v>0.31161910677500987</c:v>
                </c:pt>
                <c:pt idx="5">
                  <c:v>1.2019983161347771E-3</c:v>
                </c:pt>
                <c:pt idx="6">
                  <c:v>2.9343899142781579E-3</c:v>
                </c:pt>
                <c:pt idx="7">
                  <c:v>3.5483747303753276E-2</c:v>
                </c:pt>
                <c:pt idx="8">
                  <c:v>5.4894006264755053E-2</c:v>
                </c:pt>
                <c:pt idx="9">
                  <c:v>4.39018117322217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0086352684843029E-6</c:v>
                </c:pt>
                <c:pt idx="7">
                  <c:v>4.3893659301171672E-2</c:v>
                </c:pt>
                <c:pt idx="8">
                  <c:v>0.12040043964896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4.90422106675530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41962940407184E-2</c:v>
                </c:pt>
                <c:pt idx="1">
                  <c:v>2.9513741456325049E-4</c:v>
                </c:pt>
                <c:pt idx="2">
                  <c:v>9.8702647356404389E-4</c:v>
                </c:pt>
                <c:pt idx="3">
                  <c:v>2.0224822696756255E-3</c:v>
                </c:pt>
                <c:pt idx="4">
                  <c:v>5.1410783045854995E-3</c:v>
                </c:pt>
                <c:pt idx="5">
                  <c:v>4.9460022758870013E-3</c:v>
                </c:pt>
                <c:pt idx="6">
                  <c:v>4.8579754310961861E-3</c:v>
                </c:pt>
                <c:pt idx="7">
                  <c:v>3.5775487872045653E-2</c:v>
                </c:pt>
                <c:pt idx="8">
                  <c:v>4.9165952924563319E-3</c:v>
                </c:pt>
                <c:pt idx="9">
                  <c:v>1.10460588091142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95579999999999998</c:v>
                </c:pt>
                <c:pt idx="6">
                  <c:v>4.42000000000000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31651380679903E-3</c:v>
                </c:pt>
                <c:pt idx="3">
                  <c:v>0.38021225596049668</c:v>
                </c:pt>
                <c:pt idx="4">
                  <c:v>0.10773548689713384</c:v>
                </c:pt>
                <c:pt idx="5">
                  <c:v>0.11240208748273982</c:v>
                </c:pt>
                <c:pt idx="6">
                  <c:v>5.7039334901111492E-3</c:v>
                </c:pt>
                <c:pt idx="7">
                  <c:v>0.18405881254330331</c:v>
                </c:pt>
                <c:pt idx="8">
                  <c:v>0.2011401678119552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5">
                  <c:v>0.11240208748273982</c:v>
                </c:pt>
                <c:pt idx="6">
                  <c:v>5.192753562862204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3435823860633241E-3</c:v>
                </c:pt>
                <c:pt idx="3">
                  <c:v>0.38001590936473439</c:v>
                </c:pt>
                <c:pt idx="4">
                  <c:v>0.10724137624689321</c:v>
                </c:pt>
                <c:pt idx="7">
                  <c:v>3.8468460617734138E-2</c:v>
                </c:pt>
                <c:pt idx="8">
                  <c:v>4.210651248817253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8676389366778733E-5</c:v>
                </c:pt>
                <c:pt idx="7">
                  <c:v>4.1238774330083286E-3</c:v>
                </c:pt>
                <c:pt idx="8">
                  <c:v>0.139533254095952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7">
                  <c:v>8.07443682116558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9.5827520046668004E-6</c:v>
                </c:pt>
                <c:pt idx="3">
                  <c:v>1.9634659576228745E-4</c:v>
                </c:pt>
                <c:pt idx="4">
                  <c:v>4.9411065024063193E-4</c:v>
                </c:pt>
                <c:pt idx="6">
                  <c:v>4.4250353788216591E-4</c:v>
                </c:pt>
                <c:pt idx="7">
                  <c:v>6.0722106280904999E-2</c:v>
                </c:pt>
                <c:pt idx="8">
                  <c:v>1.9500401227830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369975056001314E-3</c:v>
                </c:pt>
                <c:pt idx="2">
                  <c:v>4.4690603279236144E-2</c:v>
                </c:pt>
                <c:pt idx="3">
                  <c:v>7.7853908432242444E-3</c:v>
                </c:pt>
                <c:pt idx="4">
                  <c:v>5.3968870489838842E-3</c:v>
                </c:pt>
                <c:pt idx="5">
                  <c:v>1.5186923790371032E-2</c:v>
                </c:pt>
                <c:pt idx="6">
                  <c:v>6.7983065975468271E-2</c:v>
                </c:pt>
                <c:pt idx="7">
                  <c:v>0.17035517494191399</c:v>
                </c:pt>
                <c:pt idx="8">
                  <c:v>0.26971004523275183</c:v>
                </c:pt>
                <c:pt idx="9">
                  <c:v>0.19172318249558798</c:v>
                </c:pt>
                <c:pt idx="10">
                  <c:v>0.2219317288868625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2.134918978433729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8">
                  <c:v>0.24939152804345749</c:v>
                </c:pt>
                <c:pt idx="10">
                  <c:v>0.2219317288868625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3367546825805143E-2</c:v>
                </c:pt>
                <c:pt idx="7">
                  <c:v>9.2813174111226304E-2</c:v>
                </c:pt>
                <c:pt idx="9">
                  <c:v>0.1917174018736348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1232577420669265E-3</c:v>
                </c:pt>
                <c:pt idx="2">
                  <c:v>3.0404472577897877E-2</c:v>
                </c:pt>
                <c:pt idx="3">
                  <c:v>5.8615506604483576E-3</c:v>
                </c:pt>
                <c:pt idx="4">
                  <c:v>8.8566507838953846E-4</c:v>
                </c:pt>
                <c:pt idx="5">
                  <c:v>5.0086014424742635E-3</c:v>
                </c:pt>
                <c:pt idx="6">
                  <c:v>4.3815884484970568E-3</c:v>
                </c:pt>
                <c:pt idx="7">
                  <c:v>3.8275096846941307E-4</c:v>
                </c:pt>
                <c:pt idx="8">
                  <c:v>4.423528705646179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1137397635332049E-3</c:v>
                </c:pt>
                <c:pt idx="2">
                  <c:v>1.4286130701338263E-2</c:v>
                </c:pt>
                <c:pt idx="3">
                  <c:v>1.9238401827758867E-3</c:v>
                </c:pt>
                <c:pt idx="4">
                  <c:v>4.5112219705943455E-3</c:v>
                </c:pt>
                <c:pt idx="5">
                  <c:v>1.0178322347896769E-2</c:v>
                </c:pt>
                <c:pt idx="6">
                  <c:v>2.3393070116607445E-4</c:v>
                </c:pt>
                <c:pt idx="7">
                  <c:v>5.5810060077880967E-2</c:v>
                </c:pt>
                <c:pt idx="8">
                  <c:v>1.5894988483648159E-2</c:v>
                </c:pt>
                <c:pt idx="9">
                  <c:v>5.7806219531048886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916582284430348E-3</c:v>
                </c:pt>
                <c:pt idx="2">
                  <c:v>3.9469355283623969E-2</c:v>
                </c:pt>
                <c:pt idx="3">
                  <c:v>1.2088662743128498E-2</c:v>
                </c:pt>
                <c:pt idx="4">
                  <c:v>7.0793722896692265E-3</c:v>
                </c:pt>
                <c:pt idx="5">
                  <c:v>1.3690961450585395E-2</c:v>
                </c:pt>
                <c:pt idx="6">
                  <c:v>7.0728144672698209E-2</c:v>
                </c:pt>
                <c:pt idx="7">
                  <c:v>0.1685900484983571</c:v>
                </c:pt>
                <c:pt idx="8">
                  <c:v>0.27547271072325769</c:v>
                </c:pt>
                <c:pt idx="9">
                  <c:v>0.18549766489847433</c:v>
                </c:pt>
                <c:pt idx="10">
                  <c:v>0.2220174765351763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2.135647756597255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5.6596591064284131E-6</c:v>
                </c:pt>
                <c:pt idx="8">
                  <c:v>0.24946682320135419</c:v>
                </c:pt>
                <c:pt idx="10">
                  <c:v>0.2220116938400024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3479971819819092E-4</c:v>
                </c:pt>
                <c:pt idx="6">
                  <c:v>6.3755690725713479E-2</c:v>
                </c:pt>
                <c:pt idx="7">
                  <c:v>9.1645137405449856E-2</c:v>
                </c:pt>
                <c:pt idx="8">
                  <c:v>6.2878812672419668E-3</c:v>
                </c:pt>
                <c:pt idx="9">
                  <c:v>0.185497664898474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2043513427787301E-3</c:v>
                </c:pt>
                <c:pt idx="2">
                  <c:v>2.4718684183393624E-2</c:v>
                </c:pt>
                <c:pt idx="3">
                  <c:v>1.0682360491248568E-2</c:v>
                </c:pt>
                <c:pt idx="4">
                  <c:v>2.0022889630003475E-3</c:v>
                </c:pt>
                <c:pt idx="5">
                  <c:v>3.8732984419450624E-3</c:v>
                </c:pt>
                <c:pt idx="6">
                  <c:v>5.0206097716721269E-3</c:v>
                </c:pt>
                <c:pt idx="7">
                  <c:v>5.1330647373955089E-4</c:v>
                </c:pt>
                <c:pt idx="8">
                  <c:v>4.424376988416646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0873068856643051E-3</c:v>
                </c:pt>
                <c:pt idx="2">
                  <c:v>1.4750671100230348E-2</c:v>
                </c:pt>
                <c:pt idx="3">
                  <c:v>1.4063022518799296E-3</c:v>
                </c:pt>
                <c:pt idx="4">
                  <c:v>5.077083326668879E-3</c:v>
                </c:pt>
                <c:pt idx="5">
                  <c:v>8.9828632904421415E-3</c:v>
                </c:pt>
                <c:pt idx="6">
                  <c:v>1.9461845162061877E-3</c:v>
                </c:pt>
                <c:pt idx="7">
                  <c:v>5.5075127053195137E-2</c:v>
                </c:pt>
                <c:pt idx="8">
                  <c:v>1.5293629266244883E-2</c:v>
                </c:pt>
                <c:pt idx="10">
                  <c:v>5.782695173959465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09750398471171E-2</c:v>
                </c:pt>
                <c:pt idx="1">
                  <c:v>2.2345770538797674E-2</c:v>
                </c:pt>
                <c:pt idx="2">
                  <c:v>2.2673027624663761E-5</c:v>
                </c:pt>
                <c:pt idx="3">
                  <c:v>3.8211269006512912E-3</c:v>
                </c:pt>
                <c:pt idx="4">
                  <c:v>0.11408516349319735</c:v>
                </c:pt>
                <c:pt idx="5">
                  <c:v>1.9640236791268222E-5</c:v>
                </c:pt>
                <c:pt idx="6">
                  <c:v>2.5733055252659218E-2</c:v>
                </c:pt>
                <c:pt idx="7">
                  <c:v>7.3872398343894988E-2</c:v>
                </c:pt>
                <c:pt idx="8">
                  <c:v>3.6807582595306237E-3</c:v>
                </c:pt>
                <c:pt idx="10">
                  <c:v>3.470358395463808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2.5516269030972075E-7</c:v>
                </c:pt>
                <c:pt idx="3">
                  <c:v>7.015941668175954E-2</c:v>
                </c:pt>
                <c:pt idx="4">
                  <c:v>3.9081359199743898E-2</c:v>
                </c:pt>
                <c:pt idx="5">
                  <c:v>4.124769773083601E-2</c:v>
                </c:pt>
                <c:pt idx="6">
                  <c:v>2.2447565871506092E-2</c:v>
                </c:pt>
                <c:pt idx="7">
                  <c:v>7.0072880077931637E-2</c:v>
                </c:pt>
                <c:pt idx="8">
                  <c:v>1.7753607601293627E-2</c:v>
                </c:pt>
                <c:pt idx="9">
                  <c:v>1.3094949266694871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3.4267255754208456E-2</c:v>
                </c:pt>
                <c:pt idx="3">
                  <c:v>6.8273370720791371E-3</c:v>
                </c:pt>
                <c:pt idx="4">
                  <c:v>9.9118530279817454E-3</c:v>
                </c:pt>
                <c:pt idx="5">
                  <c:v>2.6441787850900917E-2</c:v>
                </c:pt>
                <c:pt idx="6">
                  <c:v>1.4726532412161027E-6</c:v>
                </c:pt>
                <c:pt idx="7">
                  <c:v>6.4171820023489701E-2</c:v>
                </c:pt>
                <c:pt idx="8">
                  <c:v>6.27645686249812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6658320513777511E-6</c:v>
                </c:pt>
                <c:pt idx="4">
                  <c:v>1.4577736111897558E-3</c:v>
                </c:pt>
                <c:pt idx="5">
                  <c:v>5.3312781217990525E-2</c:v>
                </c:pt>
                <c:pt idx="6">
                  <c:v>2.0197227782764022E-2</c:v>
                </c:pt>
                <c:pt idx="7">
                  <c:v>6.8916140118406716E-2</c:v>
                </c:pt>
                <c:pt idx="8">
                  <c:v>8.1101142779644225E-2</c:v>
                </c:pt>
                <c:pt idx="9">
                  <c:v>4.2563192625909067E-2</c:v>
                </c:pt>
                <c:pt idx="10">
                  <c:v>3.529876915569195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198E-2</c:v>
                </c:pt>
                <c:pt idx="6">
                  <c:v>9.5739273110062556E-2</c:v>
                </c:pt>
                <c:pt idx="7">
                  <c:v>0.19579893844579263</c:v>
                </c:pt>
                <c:pt idx="8">
                  <c:v>0.18662621492811068</c:v>
                </c:pt>
                <c:pt idx="9">
                  <c:v>2.0947871253378533E-2</c:v>
                </c:pt>
                <c:pt idx="10">
                  <c:v>1.132557983074297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6797620962071183E-2</c:v>
                </c:pt>
                <c:pt idx="1">
                  <c:v>4.5384731835349808E-2</c:v>
                </c:pt>
                <c:pt idx="2">
                  <c:v>6.2928341927653061E-3</c:v>
                </c:pt>
                <c:pt idx="3">
                  <c:v>8.6582345668511241E-3</c:v>
                </c:pt>
                <c:pt idx="4">
                  <c:v>7.5227530691631198E-2</c:v>
                </c:pt>
                <c:pt idx="5">
                  <c:v>5.5666695515870282E-4</c:v>
                </c:pt>
                <c:pt idx="6">
                  <c:v>9.3927521069257069E-3</c:v>
                </c:pt>
                <c:pt idx="7">
                  <c:v>4.3276493234710132E-2</c:v>
                </c:pt>
                <c:pt idx="8">
                  <c:v>4.9627715017780301E-2</c:v>
                </c:pt>
                <c:pt idx="10">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9131908028297804E-6</c:v>
                </c:pt>
                <c:pt idx="1">
                  <c:v>2.0055227548059046E-5</c:v>
                </c:pt>
                <c:pt idx="2">
                  <c:v>3.1137291430285486E-5</c:v>
                </c:pt>
                <c:pt idx="3">
                  <c:v>6.7302200976453883E-2</c:v>
                </c:pt>
                <c:pt idx="4">
                  <c:v>7.3258272750350337E-2</c:v>
                </c:pt>
                <c:pt idx="5">
                  <c:v>3.46323593536196E-2</c:v>
                </c:pt>
                <c:pt idx="6">
                  <c:v>3.1598520312906206E-2</c:v>
                </c:pt>
                <c:pt idx="7">
                  <c:v>4.0062529304925924E-2</c:v>
                </c:pt>
                <c:pt idx="8">
                  <c:v>1.7947940020065979E-2</c:v>
                </c:pt>
                <c:pt idx="9">
                  <c:v>1.3892483552955994E-2</c:v>
                </c:pt>
                <c:pt idx="10">
                  <c:v>1.2405295390551985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9434962778531443E-6</c:v>
                </c:pt>
                <c:pt idx="1">
                  <c:v>2.2329531702993578E-6</c:v>
                </c:pt>
                <c:pt idx="2">
                  <c:v>2.7770080751443327E-2</c:v>
                </c:pt>
                <c:pt idx="3">
                  <c:v>3.1861967436016901E-2</c:v>
                </c:pt>
                <c:pt idx="4">
                  <c:v>1.691900346938896E-2</c:v>
                </c:pt>
                <c:pt idx="5">
                  <c:v>2.0802357138447355E-2</c:v>
                </c:pt>
                <c:pt idx="6">
                  <c:v>1.7400080824634567E-2</c:v>
                </c:pt>
                <c:pt idx="7">
                  <c:v>5.1980627394506297E-2</c:v>
                </c:pt>
                <c:pt idx="8">
                  <c:v>6.171832941525862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2.9644520884955728E-4</c:v>
                </c:pt>
                <c:pt idx="4">
                  <c:v>1.9848472624883176E-6</c:v>
                </c:pt>
                <c:pt idx="5">
                  <c:v>4.3738549137023561E-2</c:v>
                </c:pt>
                <c:pt idx="6">
                  <c:v>3.7347919865596067E-2</c:v>
                </c:pt>
                <c:pt idx="7">
                  <c:v>6.0479288511650291E-2</c:v>
                </c:pt>
                <c:pt idx="8">
                  <c:v>5.733223047500579E-2</c:v>
                </c:pt>
                <c:pt idx="9">
                  <c:v>7.0553877004225366E-3</c:v>
                </c:pt>
                <c:pt idx="10">
                  <c:v>1.07514214090835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8598817385034079E-6</c:v>
                </c:pt>
                <c:pt idx="3">
                  <c:v>0.14632611944349699</c:v>
                </c:pt>
                <c:pt idx="4">
                  <c:v>1.0608453658721453E-2</c:v>
                </c:pt>
                <c:pt idx="5">
                  <c:v>1.7975829423206335E-5</c:v>
                </c:pt>
                <c:pt idx="6">
                  <c:v>6.4528618442279151E-6</c:v>
                </c:pt>
                <c:pt idx="7">
                  <c:v>2.055856176976394E-2</c:v>
                </c:pt>
                <c:pt idx="8">
                  <c:v>6.34367532476843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9.6249555725583351E-3</c:v>
                </c:pt>
                <c:pt idx="3">
                  <c:v>7.8447697506224962E-2</c:v>
                </c:pt>
                <c:pt idx="4">
                  <c:v>8.9890567657232176E-2</c:v>
                </c:pt>
                <c:pt idx="5">
                  <c:v>1.1853292649575801E-3</c:v>
                </c:pt>
                <c:pt idx="6">
                  <c:v>9.9112373004093986E-3</c:v>
                </c:pt>
                <c:pt idx="7">
                  <c:v>9.702676708548813E-2</c:v>
                </c:pt>
                <c:pt idx="8">
                  <c:v>3.7082958196722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4851824879572185E-6</c:v>
                </c:pt>
                <c:pt idx="6">
                  <c:v>1.3315429202375063E-6</c:v>
                </c:pt>
                <c:pt idx="7">
                  <c:v>4.3669281612109256E-2</c:v>
                </c:pt>
                <c:pt idx="8">
                  <c:v>1.3213002823895256E-5</c:v>
                </c:pt>
                <c:pt idx="9">
                  <c:v>8.21454434089137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3.8897799983816629E-2</c:v>
                </c:pt>
                <c:pt idx="2">
                  <c:v>8.0035460012229716E-3</c:v>
                </c:pt>
                <c:pt idx="4">
                  <c:v>1.0334975228180363E-2</c:v>
                </c:pt>
                <c:pt idx="5">
                  <c:v>0.10858968095207368</c:v>
                </c:pt>
                <c:pt idx="6">
                  <c:v>7.6978544746499839E-3</c:v>
                </c:pt>
                <c:pt idx="7">
                  <c:v>6.8069293493569161E-2</c:v>
                </c:pt>
                <c:pt idx="8">
                  <c:v>0.1013739986541173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5.5999999999999999E-3</c:v>
                </c:pt>
                <c:pt idx="5">
                  <c:v>0.1958</c:v>
                </c:pt>
                <c:pt idx="7">
                  <c:v>0.32279999999999998</c:v>
                </c:pt>
                <c:pt idx="8">
                  <c:v>0.40649999999999997</c:v>
                </c:pt>
                <c:pt idx="9">
                  <c:v>6.5299999999999997E-2</c:v>
                </c:pt>
                <c:pt idx="10">
                  <c:v>4.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81E-2</c:v>
                </c:pt>
                <c:pt idx="7">
                  <c:v>0.11515289447697061</c:v>
                </c:pt>
                <c:pt idx="8">
                  <c:v>0.18021104120617157</c:v>
                </c:pt>
                <c:pt idx="9">
                  <c:v>1.543623998233640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445260241806E-2</c:v>
                </c:pt>
                <c:pt idx="2">
                  <c:v>7.6663425080420455E-3</c:v>
                </c:pt>
                <c:pt idx="3">
                  <c:v>5.7978765788628567E-2</c:v>
                </c:pt>
                <c:pt idx="4">
                  <c:v>2.3980990241791268E-2</c:v>
                </c:pt>
                <c:pt idx="5">
                  <c:v>2.1307474066270562E-2</c:v>
                </c:pt>
                <c:pt idx="6">
                  <c:v>0.18064157338881034</c:v>
                </c:pt>
                <c:pt idx="7">
                  <c:v>0.14442246881480475</c:v>
                </c:pt>
                <c:pt idx="8">
                  <c:v>0.30330573706980096</c:v>
                </c:pt>
                <c:pt idx="9">
                  <c:v>0.14396439387256088</c:v>
                </c:pt>
                <c:pt idx="10">
                  <c:v>0.1040218862058693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5.2169058119941238E-4</c:v>
                </c:pt>
                <c:pt idx="5">
                  <c:v>1.825891858014151E-2</c:v>
                </c:pt>
                <c:pt idx="7">
                  <c:v>3.0103958299176215E-2</c:v>
                </c:pt>
                <c:pt idx="8">
                  <c:v>3.790488467516881E-2</c:v>
                </c:pt>
                <c:pt idx="9">
                  <c:v>6.0900902500959754E-3</c:v>
                </c:pt>
                <c:pt idx="10">
                  <c:v>3.763038416579166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1.1275926362546224E-2</c:v>
                </c:pt>
                <c:pt idx="2">
                  <c:v>4.8657953197085244E-3</c:v>
                </c:pt>
                <c:pt idx="3">
                  <c:v>4.2149154401220919E-2</c:v>
                </c:pt>
                <c:pt idx="4">
                  <c:v>2.2483264789837858E-2</c:v>
                </c:pt>
                <c:pt idx="6">
                  <c:v>9.4448161682550907E-2</c:v>
                </c:pt>
                <c:pt idx="7">
                  <c:v>1.973482085823482E-2</c:v>
                </c:pt>
                <c:pt idx="8">
                  <c:v>0.101159222505887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5.3197161916266004E-3</c:v>
                </c:pt>
                <c:pt idx="7">
                  <c:v>6.4896763399019636E-4</c:v>
                </c:pt>
                <c:pt idx="8">
                  <c:v>2.0839242822610453E-2</c:v>
                </c:pt>
                <c:pt idx="9">
                  <c:v>6.557852873425947E-2</c:v>
                </c:pt>
                <c:pt idx="10">
                  <c:v>9.99573172134958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0286759823200477E-3</c:v>
                </c:pt>
                <c:pt idx="6">
                  <c:v>4.0806703062807497E-3</c:v>
                </c:pt>
                <c:pt idx="7">
                  <c:v>4.8291170530388838E-2</c:v>
                </c:pt>
                <c:pt idx="8">
                  <c:v>4.2742425450430249E-2</c:v>
                </c:pt>
                <c:pt idx="9">
                  <c:v>1.0375477261769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2985188976955815E-3</c:v>
                </c:pt>
                <c:pt idx="2">
                  <c:v>2.8005471883335211E-3</c:v>
                </c:pt>
                <c:pt idx="3">
                  <c:v>1.5829611387407648E-2</c:v>
                </c:pt>
                <c:pt idx="4">
                  <c:v>9.7603487075399796E-4</c:v>
                </c:pt>
                <c:pt idx="5">
                  <c:v>2.0198795038090019E-3</c:v>
                </c:pt>
                <c:pt idx="6">
                  <c:v>7.6793025208352086E-2</c:v>
                </c:pt>
                <c:pt idx="7">
                  <c:v>4.564355149301464E-2</c:v>
                </c:pt>
                <c:pt idx="8">
                  <c:v>0.10065996161570356</c:v>
                </c:pt>
                <c:pt idx="9">
                  <c:v>6.1920297626436305E-2</c:v>
                </c:pt>
                <c:pt idx="10">
                  <c:v>3.68826515071556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0400000000000001E-2</c:v>
                </c:pt>
                <c:pt idx="6">
                  <c:v>0.1653</c:v>
                </c:pt>
                <c:pt idx="7">
                  <c:v>0.38679999999999998</c:v>
                </c:pt>
                <c:pt idx="8">
                  <c:v>0.33679999999999999</c:v>
                </c:pt>
                <c:pt idx="9">
                  <c:v>8.3599999999999994E-2</c:v>
                </c:pt>
                <c:pt idx="10">
                  <c:v>7.100000000000000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52E-2</c:v>
                </c:pt>
                <c:pt idx="2">
                  <c:v>4.4503254509310457E-3</c:v>
                </c:pt>
                <c:pt idx="3">
                  <c:v>6.4716249229014158E-2</c:v>
                </c:pt>
                <c:pt idx="4">
                  <c:v>2.4844439046991046E-2</c:v>
                </c:pt>
                <c:pt idx="5">
                  <c:v>6.5073631970893664E-2</c:v>
                </c:pt>
                <c:pt idx="6">
                  <c:v>0.12226394010157356</c:v>
                </c:pt>
                <c:pt idx="7">
                  <c:v>0.24437305930213674</c:v>
                </c:pt>
                <c:pt idx="8">
                  <c:v>0.24572902336939234</c:v>
                </c:pt>
                <c:pt idx="9">
                  <c:v>0.15850126894474115</c:v>
                </c:pt>
                <c:pt idx="10">
                  <c:v>4.243778455336496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1.5171908853375233E-6</c:v>
                </c:pt>
                <c:pt idx="5">
                  <c:v>2.0882278192255596E-3</c:v>
                </c:pt>
                <c:pt idx="6">
                  <c:v>1.6922679704348721E-2</c:v>
                </c:pt>
                <c:pt idx="7">
                  <c:v>3.958883722423117E-2</c:v>
                </c:pt>
                <c:pt idx="8">
                  <c:v>3.4473442719874167E-2</c:v>
                </c:pt>
                <c:pt idx="9">
                  <c:v>8.5525735974126566E-3</c:v>
                </c:pt>
                <c:pt idx="10">
                  <c:v>7.291619394932137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2.0651530316272263E-2</c:v>
                </c:pt>
                <c:pt idx="2">
                  <c:v>1.5243385401751135E-3</c:v>
                </c:pt>
                <c:pt idx="3">
                  <c:v>4.4125305402096381E-2</c:v>
                </c:pt>
                <c:pt idx="4">
                  <c:v>2.1155372551616352E-2</c:v>
                </c:pt>
                <c:pt idx="5">
                  <c:v>2.8571873614088271E-2</c:v>
                </c:pt>
                <c:pt idx="6">
                  <c:v>5.0025323601643933E-2</c:v>
                </c:pt>
                <c:pt idx="7">
                  <c:v>7.3200178367703553E-2</c:v>
                </c:pt>
                <c:pt idx="8">
                  <c:v>5.78320124444716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7">
                  <c:v>8.6061472933415747E-3</c:v>
                </c:pt>
                <c:pt idx="8">
                  <c:v>1.6702687025974779E-2</c:v>
                </c:pt>
                <c:pt idx="9">
                  <c:v>6.726550078526429E-2</c:v>
                </c:pt>
                <c:pt idx="10">
                  <c:v>3.709366509420507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rre Fra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3829958909750677E-7</c:v>
                </c:pt>
                <c:pt idx="6">
                  <c:v>3.6097005543950355E-3</c:v>
                </c:pt>
                <c:pt idx="7">
                  <c:v>4.4859726936658767E-2</c:v>
                </c:pt>
                <c:pt idx="8">
                  <c:v>2.57723529924634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6.8540278282477884E-3</c:v>
                </c:pt>
                <c:pt idx="2">
                  <c:v>2.9259869107559327E-3</c:v>
                </c:pt>
                <c:pt idx="3">
                  <c:v>2.0590943826917785E-2</c:v>
                </c:pt>
                <c:pt idx="4">
                  <c:v>3.6875493044893548E-3</c:v>
                </c:pt>
                <c:pt idx="5">
                  <c:v>3.4413092237990744E-2</c:v>
                </c:pt>
                <c:pt idx="6">
                  <c:v>5.1706236241185879E-2</c:v>
                </c:pt>
                <c:pt idx="7">
                  <c:v>7.811816948020163E-2</c:v>
                </c:pt>
                <c:pt idx="8">
                  <c:v>0.11094852818660828</c:v>
                </c:pt>
                <c:pt idx="9">
                  <c:v>8.2683194562064202E-2</c:v>
                </c:pt>
                <c:pt idx="10">
                  <c:v>4.614957519666671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2.8E-3</c:v>
                </c:pt>
                <c:pt idx="5">
                  <c:v>0.2198</c:v>
                </c:pt>
                <c:pt idx="6">
                  <c:v>3.0200000000000001E-2</c:v>
                </c:pt>
                <c:pt idx="7">
                  <c:v>0.15820000000000001</c:v>
                </c:pt>
                <c:pt idx="8">
                  <c:v>0.51890000000000003</c:v>
                </c:pt>
                <c:pt idx="9">
                  <c:v>7.000000000000000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36752523768597E-3</c:v>
                </c:pt>
                <c:pt idx="2">
                  <c:v>4.2520320660761161E-3</c:v>
                </c:pt>
                <c:pt idx="3">
                  <c:v>8.4944165828123794E-2</c:v>
                </c:pt>
                <c:pt idx="4">
                  <c:v>2.7677276536064312E-2</c:v>
                </c:pt>
                <c:pt idx="5">
                  <c:v>0.10953939421161026</c:v>
                </c:pt>
                <c:pt idx="6">
                  <c:v>0.12398962027820842</c:v>
                </c:pt>
                <c:pt idx="7">
                  <c:v>0.12106155214187639</c:v>
                </c:pt>
                <c:pt idx="8">
                  <c:v>0.3262023710047276</c:v>
                </c:pt>
                <c:pt idx="9">
                  <c:v>0.10121561452946574</c:v>
                </c:pt>
                <c:pt idx="10">
                  <c:v>9.50555590826723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3.7972412282872832E-4</c:v>
                </c:pt>
                <c:pt idx="5">
                  <c:v>2.9629555086729643E-2</c:v>
                </c:pt>
                <c:pt idx="6">
                  <c:v>4.0721750145490329E-3</c:v>
                </c:pt>
                <c:pt idx="7">
                  <c:v>2.1327844707948126E-2</c:v>
                </c:pt>
                <c:pt idx="8">
                  <c:v>6.9933581499023234E-2</c:v>
                </c:pt>
                <c:pt idx="9">
                  <c:v>9.431985087989302E-3</c:v>
                </c:pt>
                <c:pt idx="10">
                  <c:v>4.0408583622416603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5.9393624131633136E-3</c:v>
                </c:pt>
                <c:pt idx="2">
                  <c:v>3.4217133814501135E-3</c:v>
                </c:pt>
                <c:pt idx="3">
                  <c:v>7.5558495193670958E-2</c:v>
                </c:pt>
                <c:pt idx="4">
                  <c:v>2.5939862857929714E-2</c:v>
                </c:pt>
                <c:pt idx="5">
                  <c:v>7.0621965033675502E-2</c:v>
                </c:pt>
                <c:pt idx="6">
                  <c:v>2.4278526109345784E-2</c:v>
                </c:pt>
                <c:pt idx="7">
                  <c:v>2.7375105810264758E-2</c:v>
                </c:pt>
                <c:pt idx="8">
                  <c:v>0.101702848797374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1.9978081451737427E-2</c:v>
                </c:pt>
                <c:pt idx="9">
                  <c:v>3.3012064371184549E-2</c:v>
                </c:pt>
                <c:pt idx="10">
                  <c:v>8.99118960772046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2.9218514311593541E-5</c:v>
                </c:pt>
                <c:pt idx="6">
                  <c:v>4.6532038217505882E-4</c:v>
                </c:pt>
                <c:pt idx="7">
                  <c:v>5.8252159353114528E-2</c:v>
                </c:pt>
                <c:pt idx="8">
                  <c:v>3.4160794923873729E-2</c:v>
                </c:pt>
                <c:pt idx="9">
                  <c:v>1.790422746053888E-2</c:v>
                </c:pt>
                <c:pt idx="10">
                  <c:v>4.202881240804618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4.3128392135463874E-6</c:v>
                </c:pt>
                <c:pt idx="2">
                  <c:v>8.3031868462600262E-4</c:v>
                </c:pt>
                <c:pt idx="3">
                  <c:v>9.3856706344528397E-3</c:v>
                </c:pt>
                <c:pt idx="4">
                  <c:v>1.3576895553058684E-3</c:v>
                </c:pt>
                <c:pt idx="5">
                  <c:v>9.2586555768935323E-3</c:v>
                </c:pt>
                <c:pt idx="6">
                  <c:v>9.517359877213856E-2</c:v>
                </c:pt>
                <c:pt idx="7">
                  <c:v>1.410644227054899E-2</c:v>
                </c:pt>
                <c:pt idx="8">
                  <c:v>0.10042706433271868</c:v>
                </c:pt>
                <c:pt idx="9">
                  <c:v>4.0867337609753016E-2</c:v>
                </c:pt>
                <c:pt idx="10">
                  <c:v>9.367409063008093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1174</c:v>
                </c:pt>
                <c:pt idx="8">
                  <c:v>0.8826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440326896023386E-3</c:v>
                </c:pt>
                <c:pt idx="1">
                  <c:v>1.6414059402893172E-2</c:v>
                </c:pt>
                <c:pt idx="2">
                  <c:v>1.8161040186737358E-2</c:v>
                </c:pt>
                <c:pt idx="3">
                  <c:v>4.1076518711765493E-2</c:v>
                </c:pt>
                <c:pt idx="4">
                  <c:v>7.1941890867163433E-2</c:v>
                </c:pt>
                <c:pt idx="5">
                  <c:v>9.2447332939716881E-2</c:v>
                </c:pt>
                <c:pt idx="6">
                  <c:v>0.10831682527395142</c:v>
                </c:pt>
                <c:pt idx="7">
                  <c:v>0.18902377510261559</c:v>
                </c:pt>
                <c:pt idx="8">
                  <c:v>0.19576873044059104</c:v>
                </c:pt>
                <c:pt idx="9">
                  <c:v>4.9546663979823755E-2</c:v>
                </c:pt>
                <c:pt idx="10">
                  <c:v>0.2111591304051395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8526375298133922E-6</c:v>
                </c:pt>
                <c:pt idx="1">
                  <c:v>4.149199193491643E-3</c:v>
                </c:pt>
                <c:pt idx="2">
                  <c:v>3.5030122747466315E-2</c:v>
                </c:pt>
                <c:pt idx="3">
                  <c:v>0.14359216493144436</c:v>
                </c:pt>
                <c:pt idx="4">
                  <c:v>0.31161910677500987</c:v>
                </c:pt>
                <c:pt idx="5">
                  <c:v>1.2019983161347771E-3</c:v>
                </c:pt>
                <c:pt idx="6">
                  <c:v>2.9343899142781579E-3</c:v>
                </c:pt>
                <c:pt idx="7">
                  <c:v>3.5483747303753276E-2</c:v>
                </c:pt>
                <c:pt idx="8">
                  <c:v>5.4894006264755053E-2</c:v>
                </c:pt>
                <c:pt idx="9">
                  <c:v>4.390181173222175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3.0086352684843029E-6</c:v>
                </c:pt>
                <c:pt idx="7">
                  <c:v>4.3893659301171672E-2</c:v>
                </c:pt>
                <c:pt idx="8">
                  <c:v>0.120400439648960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9428990141866858E-3</c:v>
                </c:pt>
                <c:pt idx="5">
                  <c:v>7.6898970512948056E-2</c:v>
                </c:pt>
                <c:pt idx="6">
                  <c:v>2.118923587943136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41962940407184E-2</c:v>
                </c:pt>
                <c:pt idx="1">
                  <c:v>2.9513741456325049E-4</c:v>
                </c:pt>
                <c:pt idx="2">
                  <c:v>9.8702647356404389E-4</c:v>
                </c:pt>
                <c:pt idx="3">
                  <c:v>2.0224822696756255E-3</c:v>
                </c:pt>
                <c:pt idx="4">
                  <c:v>5.1410783045854995E-3</c:v>
                </c:pt>
                <c:pt idx="5">
                  <c:v>4.9460022758870013E-3</c:v>
                </c:pt>
                <c:pt idx="6">
                  <c:v>5.3900186098649272E-2</c:v>
                </c:pt>
                <c:pt idx="7">
                  <c:v>3.5775487872045653E-2</c:v>
                </c:pt>
                <c:pt idx="8">
                  <c:v>4.9165952924563319E-3</c:v>
                </c:pt>
                <c:pt idx="9">
                  <c:v>1.104605880911422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7">
                  <c:v>1.2295290510459986E-3</c:v>
                </c:pt>
                <c:pt idx="8">
                  <c:v>9.246522701863100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6405484166825383E-4</c:v>
                </c:pt>
                <c:pt idx="1">
                  <c:v>6.790208995048167E-3</c:v>
                </c:pt>
                <c:pt idx="2">
                  <c:v>1.4241990441861871E-4</c:v>
                </c:pt>
                <c:pt idx="3">
                  <c:v>1.3291292839119345E-2</c:v>
                </c:pt>
                <c:pt idx="4">
                  <c:v>5.2403168692109203E-2</c:v>
                </c:pt>
                <c:pt idx="5">
                  <c:v>2.0836488083426047E-3</c:v>
                </c:pt>
                <c:pt idx="6">
                  <c:v>3.6513051205990646E-2</c:v>
                </c:pt>
                <c:pt idx="7">
                  <c:v>8.9712340991130943E-2</c:v>
                </c:pt>
                <c:pt idx="8">
                  <c:v>0.14536600164662383</c:v>
                </c:pt>
                <c:pt idx="9">
                  <c:v>4.3141134383930919E-2</c:v>
                </c:pt>
                <c:pt idx="10">
                  <c:v>0.175012140674033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6605486613245063E-5</c:v>
                </c:pt>
                <c:pt idx="1">
                  <c:v>2.5938176798877442E-3</c:v>
                </c:pt>
                <c:pt idx="3">
                  <c:v>2.5128979861358792E-3</c:v>
                </c:pt>
                <c:pt idx="4">
                  <c:v>9.7186763698980418E-3</c:v>
                </c:pt>
                <c:pt idx="5">
                  <c:v>4.3533327564330253E-2</c:v>
                </c:pt>
                <c:pt idx="6">
                  <c:v>1.3964839824646375E-2</c:v>
                </c:pt>
                <c:pt idx="7">
                  <c:v>1.4901842095617924E-2</c:v>
                </c:pt>
                <c:pt idx="8">
                  <c:v>1.5256675085942925E-2</c:v>
                </c:pt>
                <c:pt idx="9">
                  <c:v>2.6461277189915801E-3</c:v>
                </c:pt>
                <c:pt idx="10">
                  <c:v>2.44692947364423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211287943793168E-6</c:v>
                </c:pt>
                <c:pt idx="5">
                  <c:v>2.3018579860218401E-2</c:v>
                </c:pt>
                <c:pt idx="6">
                  <c:v>1.1311895525152703E-2</c:v>
                </c:pt>
                <c:pt idx="7">
                  <c:v>3.58570297155460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4020512325264596E-3</c:v>
                </c:pt>
                <c:pt idx="1">
                  <c:v>7.030032727957259E-3</c:v>
                </c:pt>
                <c:pt idx="2">
                  <c:v>1.801862028231874E-2</c:v>
                </c:pt>
                <c:pt idx="3">
                  <c:v>2.5272327886510269E-2</c:v>
                </c:pt>
                <c:pt idx="4">
                  <c:v>9.8200458051561825E-3</c:v>
                </c:pt>
                <c:pt idx="5">
                  <c:v>2.3811776706825629E-2</c:v>
                </c:pt>
                <c:pt idx="6">
                  <c:v>4.652703871816171E-2</c:v>
                </c:pt>
                <c:pt idx="7">
                  <c:v>4.7323033249274678E-2</c:v>
                </c:pt>
                <c:pt idx="8">
                  <c:v>2.589953100616119E-2</c:v>
                </c:pt>
                <c:pt idx="9">
                  <c:v>3.7594018769012555E-3</c:v>
                </c:pt>
                <c:pt idx="10">
                  <c:v>1.16776949946633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0.25740000000000002</c:v>
                </c:pt>
                <c:pt idx="8">
                  <c:v>0.7426000000000000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605E-2</c:v>
                </c:pt>
                <c:pt idx="5">
                  <c:v>0.1236600148751794</c:v>
                </c:pt>
                <c:pt idx="6">
                  <c:v>0.14971069932300879</c:v>
                </c:pt>
                <c:pt idx="7">
                  <c:v>0.1647679430192327</c:v>
                </c:pt>
                <c:pt idx="8">
                  <c:v>0.16299902679493175</c:v>
                </c:pt>
                <c:pt idx="9">
                  <c:v>0.19665703144981761</c:v>
                </c:pt>
                <c:pt idx="10">
                  <c:v>4.64278119925380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4">
                  <c:v>5.0086465517584642E-7</c:v>
                </c:pt>
                <c:pt idx="7">
                  <c:v>4.1558243033905503E-3</c:v>
                </c:pt>
                <c:pt idx="8">
                  <c:v>1.198829569456491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340458942784401E-3</c:v>
                </c:pt>
                <c:pt idx="1">
                  <c:v>3.8566578448540174E-6</c:v>
                </c:pt>
                <c:pt idx="2">
                  <c:v>2.1473495231655787E-2</c:v>
                </c:pt>
                <c:pt idx="3">
                  <c:v>7.7027599671002046E-3</c:v>
                </c:pt>
                <c:pt idx="4">
                  <c:v>1.1532596509669556E-2</c:v>
                </c:pt>
                <c:pt idx="5">
                  <c:v>5.1033938664164412E-2</c:v>
                </c:pt>
                <c:pt idx="6">
                  <c:v>5.6864616809613855E-2</c:v>
                </c:pt>
                <c:pt idx="7">
                  <c:v>6.9391204270712645E-2</c:v>
                </c:pt>
                <c:pt idx="8">
                  <c:v>0.11028911986485068</c:v>
                </c:pt>
                <c:pt idx="9">
                  <c:v>0.17365204236203063</c:v>
                </c:pt>
                <c:pt idx="10">
                  <c:v>2.01557954535864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867160776327196E-6</c:v>
                </c:pt>
                <c:pt idx="3">
                  <c:v>1.9408505388064049E-6</c:v>
                </c:pt>
                <c:pt idx="4">
                  <c:v>3.1405966905818689E-3</c:v>
                </c:pt>
                <c:pt idx="5">
                  <c:v>1.7672683795853877E-2</c:v>
                </c:pt>
                <c:pt idx="6">
                  <c:v>2.127501509042598E-2</c:v>
                </c:pt>
                <c:pt idx="7">
                  <c:v>3.28127705060438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766958469579996E-3</c:v>
                </c:pt>
                <c:pt idx="1">
                  <c:v>3.4308227150235131E-3</c:v>
                </c:pt>
                <c:pt idx="2">
                  <c:v>1.3627087281451152E-2</c:v>
                </c:pt>
                <c:pt idx="3">
                  <c:v>7.9725131487615359E-4</c:v>
                </c:pt>
                <c:pt idx="4">
                  <c:v>1.680726480140829E-3</c:v>
                </c:pt>
                <c:pt idx="5">
                  <c:v>1.0681978065784416E-2</c:v>
                </c:pt>
                <c:pt idx="6">
                  <c:v>2.8043387000062883E-2</c:v>
                </c:pt>
                <c:pt idx="7">
                  <c:v>5.3127966136139971E-3</c:v>
                </c:pt>
                <c:pt idx="8">
                  <c:v>1.476432552426067E-2</c:v>
                </c:pt>
                <c:pt idx="9">
                  <c:v>2.6973690356003827E-3</c:v>
                </c:pt>
                <c:pt idx="10">
                  <c:v>1.02515600243590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9.2315992405589582E-3</c:v>
                </c:pt>
                <c:pt idx="1">
                  <c:v>1.4580858801069756E-2</c:v>
                </c:pt>
                <c:pt idx="2">
                  <c:v>1.3820646427443857E-2</c:v>
                </c:pt>
                <c:pt idx="3">
                  <c:v>3.1703179992200035E-2</c:v>
                </c:pt>
                <c:pt idx="4">
                  <c:v>1.8732025063167172E-2</c:v>
                </c:pt>
                <c:pt idx="5">
                  <c:v>4.4271414349376689E-2</c:v>
                </c:pt>
                <c:pt idx="6">
                  <c:v>4.352768042290607E-2</c:v>
                </c:pt>
                <c:pt idx="7">
                  <c:v>5.3095347325471644E-2</c:v>
                </c:pt>
                <c:pt idx="8">
                  <c:v>2.5957285711255482E-2</c:v>
                </c:pt>
                <c:pt idx="9">
                  <c:v>2.030762005218659E-2</c:v>
                </c:pt>
                <c:pt idx="10">
                  <c:v>1.60204565145925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2.6499999999999999E-2</c:v>
                </c:pt>
                <c:pt idx="7">
                  <c:v>0.1363</c:v>
                </c:pt>
                <c:pt idx="8">
                  <c:v>0.8372000000000000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6872184253652326E-3</c:v>
                </c:pt>
                <c:pt idx="1">
                  <c:v>6.4377750810823645E-3</c:v>
                </c:pt>
                <c:pt idx="2">
                  <c:v>2.3401097734032036E-2</c:v>
                </c:pt>
                <c:pt idx="3">
                  <c:v>9.0467878237250693E-2</c:v>
                </c:pt>
                <c:pt idx="4">
                  <c:v>2.6029595140876296E-2</c:v>
                </c:pt>
                <c:pt idx="5">
                  <c:v>0.11858627354648472</c:v>
                </c:pt>
                <c:pt idx="6">
                  <c:v>0.12647657415686711</c:v>
                </c:pt>
                <c:pt idx="7">
                  <c:v>0.19717935221122621</c:v>
                </c:pt>
                <c:pt idx="8">
                  <c:v>0.14705443469514709</c:v>
                </c:pt>
                <c:pt idx="9">
                  <c:v>0.12556180470126249</c:v>
                </c:pt>
                <c:pt idx="10">
                  <c:v>0.134117996070405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3.6410196472055873E-4</c:v>
                </c:pt>
                <c:pt idx="7">
                  <c:v>1.8740610394460178E-3</c:v>
                </c:pt>
                <c:pt idx="8">
                  <c:v>1.151269219913366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6440241072721144E-3</c:v>
                </c:pt>
                <c:pt idx="3">
                  <c:v>8.3105556641202921E-2</c:v>
                </c:pt>
                <c:pt idx="4">
                  <c:v>2.773710780301409E-3</c:v>
                </c:pt>
                <c:pt idx="5">
                  <c:v>2.1370621553664488E-7</c:v>
                </c:pt>
                <c:pt idx="6">
                  <c:v>3.3712422633675153E-2</c:v>
                </c:pt>
                <c:pt idx="7">
                  <c:v>8.9253011828478751E-2</c:v>
                </c:pt>
                <c:pt idx="8">
                  <c:v>9.453996113004498E-2</c:v>
                </c:pt>
                <c:pt idx="9">
                  <c:v>0.11749617594988361</c:v>
                </c:pt>
                <c:pt idx="10">
                  <c:v>9.161740397062230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900335880278075E-4</c:v>
                </c:pt>
                <c:pt idx="1">
                  <c:v>2.5669678256209994E-3</c:v>
                </c:pt>
                <c:pt idx="2">
                  <c:v>6.9857000088670274E-4</c:v>
                </c:pt>
                <c:pt idx="3">
                  <c:v>5.2194003286053624E-3</c:v>
                </c:pt>
                <c:pt idx="4">
                  <c:v>1.6969502324348941E-2</c:v>
                </c:pt>
                <c:pt idx="5">
                  <c:v>7.1178826458318301E-2</c:v>
                </c:pt>
                <c:pt idx="6">
                  <c:v>1.5141958004484733E-2</c:v>
                </c:pt>
                <c:pt idx="7">
                  <c:v>3.2898255379034416E-2</c:v>
                </c:pt>
                <c:pt idx="8">
                  <c:v>2.4180270595878645E-2</c:v>
                </c:pt>
                <c:pt idx="9">
                  <c:v>5.3061294344106504E-3</c:v>
                </c:pt>
                <c:pt idx="10">
                  <c:v>3.221516126992282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6195013190392843E-3</c:v>
                </c:pt>
                <c:pt idx="5">
                  <c:v>3.440762676166715E-2</c:v>
                </c:pt>
                <c:pt idx="6">
                  <c:v>1.8093632635774282E-2</c:v>
                </c:pt>
                <c:pt idx="7">
                  <c:v>3.9699117320313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382150665624514E-3</c:v>
                </c:pt>
                <c:pt idx="1">
                  <c:v>3.8708072554613647E-3</c:v>
                </c:pt>
                <c:pt idx="2">
                  <c:v>2.1058503625873217E-2</c:v>
                </c:pt>
                <c:pt idx="3">
                  <c:v>2.1429212674424119E-3</c:v>
                </c:pt>
                <c:pt idx="4">
                  <c:v>4.6668807171866616E-3</c:v>
                </c:pt>
                <c:pt idx="5">
                  <c:v>1.299960662028375E-2</c:v>
                </c:pt>
                <c:pt idx="6">
                  <c:v>5.916445891821237E-2</c:v>
                </c:pt>
                <c:pt idx="7">
                  <c:v>3.3454906643953494E-2</c:v>
                </c:pt>
                <c:pt idx="8">
                  <c:v>1.6821510770089813E-2</c:v>
                </c:pt>
                <c:pt idx="9">
                  <c:v>2.759499316968222E-3</c:v>
                </c:pt>
                <c:pt idx="10">
                  <c:v>1.028543082986059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66118400716372E-2</c:v>
                </c:pt>
                <c:pt idx="1">
                  <c:v>1.7979971027474409E-2</c:v>
                </c:pt>
                <c:pt idx="2">
                  <c:v>1.1086532584295801E-2</c:v>
                </c:pt>
                <c:pt idx="3">
                  <c:v>1.3960396047619254E-2</c:v>
                </c:pt>
                <c:pt idx="4">
                  <c:v>2.7231768358389322E-2</c:v>
                </c:pt>
                <c:pt idx="5">
                  <c:v>0.14762693303421917</c:v>
                </c:pt>
                <c:pt idx="6">
                  <c:v>0.13467382647792436</c:v>
                </c:pt>
                <c:pt idx="7">
                  <c:v>0.15483900827319605</c:v>
                </c:pt>
                <c:pt idx="8">
                  <c:v>0.26165380079754724</c:v>
                </c:pt>
                <c:pt idx="9">
                  <c:v>0.18614307658344176</c:v>
                </c:pt>
                <c:pt idx="10">
                  <c:v>2.04385684151761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13088181788768E-4</c:v>
                </c:pt>
                <c:pt idx="2">
                  <c:v>4.3850338175157249E-8</c:v>
                </c:pt>
                <c:pt idx="4">
                  <c:v>5.4322203703737184E-3</c:v>
                </c:pt>
                <c:pt idx="5">
                  <c:v>2.4861961159286367E-2</c:v>
                </c:pt>
                <c:pt idx="6">
                  <c:v>4.6146567879905231E-2</c:v>
                </c:pt>
                <c:pt idx="7">
                  <c:v>2.2198154308233661E-3</c:v>
                </c:pt>
                <c:pt idx="8">
                  <c:v>0.15182980242764646</c:v>
                </c:pt>
                <c:pt idx="9">
                  <c:v>0.11946298069449059</c:v>
                </c:pt>
                <c:pt idx="10">
                  <c:v>1.34261572583225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681801869492382E-3</c:v>
                </c:pt>
                <c:pt idx="3">
                  <c:v>1.3360557152412469E-3</c:v>
                </c:pt>
                <c:pt idx="4">
                  <c:v>3.9821065524359512E-3</c:v>
                </c:pt>
                <c:pt idx="5">
                  <c:v>9.1831688531884476E-2</c:v>
                </c:pt>
                <c:pt idx="6">
                  <c:v>4.2687066284737868E-2</c:v>
                </c:pt>
                <c:pt idx="7">
                  <c:v>1.0755297249029471E-2</c:v>
                </c:pt>
                <c:pt idx="8">
                  <c:v>4.9829061937105013E-3</c:v>
                </c:pt>
                <c:pt idx="10">
                  <c:v>3.279330674914452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4336809239452447E-3</c:v>
                </c:pt>
                <c:pt idx="6">
                  <c:v>1.2468830167694218E-2</c:v>
                </c:pt>
                <c:pt idx="7">
                  <c:v>7.1521800620634748E-2</c:v>
                </c:pt>
                <c:pt idx="8">
                  <c:v>3.961723566010963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168987518898486E-2</c:v>
                </c:pt>
                <c:pt idx="1">
                  <c:v>1.7979971027474409E-2</c:v>
                </c:pt>
                <c:pt idx="2">
                  <c:v>7.9183085470083854E-3</c:v>
                </c:pt>
                <c:pt idx="3">
                  <c:v>7.1906594084327619E-3</c:v>
                </c:pt>
                <c:pt idx="4">
                  <c:v>1.7817441435579659E-2</c:v>
                </c:pt>
                <c:pt idx="5">
                  <c:v>3.0933283343048318E-2</c:v>
                </c:pt>
                <c:pt idx="6">
                  <c:v>3.3371362145587058E-2</c:v>
                </c:pt>
                <c:pt idx="7">
                  <c:v>7.0342094972708491E-2</c:v>
                </c:pt>
                <c:pt idx="8">
                  <c:v>6.5223856516080647E-2</c:v>
                </c:pt>
                <c:pt idx="9">
                  <c:v>6.6680095888951185E-2</c:v>
                </c:pt>
                <c:pt idx="10">
                  <c:v>6.979617850104540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5E-2</c:v>
                </c:pt>
                <c:pt idx="4">
                  <c:v>5.7701549538145838E-2</c:v>
                </c:pt>
                <c:pt idx="5">
                  <c:v>0.14579996000114001</c:v>
                </c:pt>
                <c:pt idx="6">
                  <c:v>0.1286472547711171</c:v>
                </c:pt>
                <c:pt idx="7">
                  <c:v>0.1797236450590925</c:v>
                </c:pt>
                <c:pt idx="8">
                  <c:v>0.24907140238754866</c:v>
                </c:pt>
                <c:pt idx="9">
                  <c:v>0.15553268833943143</c:v>
                </c:pt>
                <c:pt idx="10">
                  <c:v>5.624102605429427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8225773745351076E-5</c:v>
                </c:pt>
                <c:pt idx="2">
                  <c:v>4.0164702922471991E-4</c:v>
                </c:pt>
                <c:pt idx="3">
                  <c:v>4.9040371330939954E-4</c:v>
                </c:pt>
                <c:pt idx="4">
                  <c:v>2.0178929380227327E-2</c:v>
                </c:pt>
                <c:pt idx="5">
                  <c:v>2.1434278531619246E-2</c:v>
                </c:pt>
                <c:pt idx="6">
                  <c:v>2.8178332837032982E-2</c:v>
                </c:pt>
                <c:pt idx="7">
                  <c:v>2.3025306076452531E-2</c:v>
                </c:pt>
                <c:pt idx="8">
                  <c:v>0.10714444829909844</c:v>
                </c:pt>
                <c:pt idx="9">
                  <c:v>0.10232818507711655</c:v>
                </c:pt>
                <c:pt idx="10">
                  <c:v>5.57199516344661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56564186376998E-7</c:v>
                </c:pt>
                <c:pt idx="2">
                  <c:v>1.0056265390634238E-2</c:v>
                </c:pt>
                <c:pt idx="3">
                  <c:v>3.0062615741991957E-4</c:v>
                </c:pt>
                <c:pt idx="4">
                  <c:v>2.146562489455665E-2</c:v>
                </c:pt>
                <c:pt idx="5">
                  <c:v>8.4526174028782805E-2</c:v>
                </c:pt>
                <c:pt idx="6">
                  <c:v>2.9315094049735521E-2</c:v>
                </c:pt>
                <c:pt idx="7">
                  <c:v>1.9579949727886542E-2</c:v>
                </c:pt>
                <c:pt idx="8">
                  <c:v>5.2420905612190578E-3</c:v>
                </c:pt>
                <c:pt idx="10">
                  <c:v>3.14282606851172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1561914533476032E-3</c:v>
                </c:pt>
                <c:pt idx="3">
                  <c:v>7.8647021362536103E-3</c:v>
                </c:pt>
                <c:pt idx="5">
                  <c:v>4.1943931491551263E-4</c:v>
                </c:pt>
                <c:pt idx="6">
                  <c:v>3.0147891771798805E-2</c:v>
                </c:pt>
                <c:pt idx="7">
                  <c:v>4.640047933113782E-2</c:v>
                </c:pt>
                <c:pt idx="8">
                  <c:v>5.2855946448045546E-2</c:v>
                </c:pt>
                <c:pt idx="9">
                  <c:v>3.1018771946548947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2699690459273E-2</c:v>
                </c:pt>
                <c:pt idx="1">
                  <c:v>2.0705941386764733E-2</c:v>
                </c:pt>
                <c:pt idx="2">
                  <c:v>4.6646295420900369E-3</c:v>
                </c:pt>
                <c:pt idx="3">
                  <c:v>8.8930921542940463E-3</c:v>
                </c:pt>
                <c:pt idx="4">
                  <c:v>1.6056995263361861E-2</c:v>
                </c:pt>
                <c:pt idx="5">
                  <c:v>3.9420068125822459E-2</c:v>
                </c:pt>
                <c:pt idx="6">
                  <c:v>4.1005936112549782E-2</c:v>
                </c:pt>
                <c:pt idx="7">
                  <c:v>9.0717909923615614E-2</c:v>
                </c:pt>
                <c:pt idx="8">
                  <c:v>8.3828917079185619E-2</c:v>
                </c:pt>
                <c:pt idx="9">
                  <c:v>5.3173484490368329E-2</c:v>
                </c:pt>
                <c:pt idx="10">
                  <c:v>2.067918129769929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352154506864178E-2</c:v>
                </c:pt>
                <c:pt idx="1">
                  <c:v>1.8944882812584778E-3</c:v>
                </c:pt>
                <c:pt idx="2">
                  <c:v>4.1063764779702226E-3</c:v>
                </c:pt>
                <c:pt idx="3">
                  <c:v>1.662843254070168E-2</c:v>
                </c:pt>
                <c:pt idx="4">
                  <c:v>7.2937955575104671E-2</c:v>
                </c:pt>
                <c:pt idx="5">
                  <c:v>0.1579797189122554</c:v>
                </c:pt>
                <c:pt idx="6">
                  <c:v>9.598337906718378E-2</c:v>
                </c:pt>
                <c:pt idx="7">
                  <c:v>0.21068997706434742</c:v>
                </c:pt>
                <c:pt idx="8">
                  <c:v>0.19968366113881508</c:v>
                </c:pt>
                <c:pt idx="9">
                  <c:v>0.15604544109593402</c:v>
                </c:pt>
                <c:pt idx="10">
                  <c:v>4.26984153395650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099638059920146E-5</c:v>
                </c:pt>
                <c:pt idx="1">
                  <c:v>4.9652516784552209E-5</c:v>
                </c:pt>
                <c:pt idx="2">
                  <c:v>2.1346000392107782E-3</c:v>
                </c:pt>
                <c:pt idx="3">
                  <c:v>5.4010073745683141E-3</c:v>
                </c:pt>
                <c:pt idx="4">
                  <c:v>2.3980718714754611E-2</c:v>
                </c:pt>
                <c:pt idx="5">
                  <c:v>8.6490681170313916E-2</c:v>
                </c:pt>
                <c:pt idx="6">
                  <c:v>2.5858857114332695E-3</c:v>
                </c:pt>
                <c:pt idx="7">
                  <c:v>5.5749069346889751E-2</c:v>
                </c:pt>
                <c:pt idx="8">
                  <c:v>2.9218058468430861E-3</c:v>
                </c:pt>
                <c:pt idx="9">
                  <c:v>1.099638059920146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349330655618196E-7</c:v>
                </c:pt>
                <c:pt idx="4">
                  <c:v>2.4970899380947178E-2</c:v>
                </c:pt>
                <c:pt idx="5">
                  <c:v>6.5450167948010269E-3</c:v>
                </c:pt>
                <c:pt idx="6">
                  <c:v>4.6032296080441418E-2</c:v>
                </c:pt>
                <c:pt idx="7">
                  <c:v>9.341690582588727E-3</c:v>
                </c:pt>
                <c:pt idx="8">
                  <c:v>7.5749001825254486E-2</c:v>
                </c:pt>
                <c:pt idx="9">
                  <c:v>7.3772522986896696E-2</c:v>
                </c:pt>
                <c:pt idx="10">
                  <c:v>4.26984153395650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0309372075318455E-2</c:v>
                </c:pt>
                <c:pt idx="1">
                  <c:v>1.5883500099714985E-3</c:v>
                </c:pt>
                <c:pt idx="3">
                  <c:v>2.5332670656713012E-4</c:v>
                </c:pt>
                <c:pt idx="4">
                  <c:v>4.6541698588725477E-4</c:v>
                </c:pt>
                <c:pt idx="5">
                  <c:v>1.2628571442351353E-2</c:v>
                </c:pt>
                <c:pt idx="6">
                  <c:v>1.7162625135073415E-2</c:v>
                </c:pt>
                <c:pt idx="7">
                  <c:v>5.8732633375124403E-2</c:v>
                </c:pt>
                <c:pt idx="8">
                  <c:v>7.4166487613758882E-3</c:v>
                </c:pt>
                <c:pt idx="9">
                  <c:v>7.04900069185561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103178605094652E-2</c:v>
                </c:pt>
                <c:pt idx="1">
                  <c:v>2.5648575450242704E-4</c:v>
                </c:pt>
                <c:pt idx="2">
                  <c:v>1.9714629454528881E-3</c:v>
                </c:pt>
                <c:pt idx="3">
                  <c:v>1.0974098459566237E-2</c:v>
                </c:pt>
                <c:pt idx="4">
                  <c:v>2.3520920493515632E-2</c:v>
                </c:pt>
                <c:pt idx="5">
                  <c:v>5.2315449504789092E-2</c:v>
                </c:pt>
                <c:pt idx="6">
                  <c:v>3.0202572140235685E-2</c:v>
                </c:pt>
                <c:pt idx="7">
                  <c:v>8.6866583759744515E-2</c:v>
                </c:pt>
                <c:pt idx="8">
                  <c:v>0.11359620470534162</c:v>
                </c:pt>
                <c:pt idx="9">
                  <c:v>1.17719148098819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11632227398507E-2</c:v>
                </c:pt>
                <c:pt idx="1">
                  <c:v>2.3450659593645454E-2</c:v>
                </c:pt>
                <c:pt idx="2">
                  <c:v>4.2418163511807661E-2</c:v>
                </c:pt>
                <c:pt idx="3">
                  <c:v>2.0666175437598685E-2</c:v>
                </c:pt>
                <c:pt idx="4">
                  <c:v>5.0223009271810573E-2</c:v>
                </c:pt>
                <c:pt idx="5">
                  <c:v>7.2486072766880225E-2</c:v>
                </c:pt>
                <c:pt idx="6">
                  <c:v>0.14481255446315669</c:v>
                </c:pt>
                <c:pt idx="7">
                  <c:v>0.16464962829241295</c:v>
                </c:pt>
                <c:pt idx="8">
                  <c:v>0.37080110599668015</c:v>
                </c:pt>
                <c:pt idx="9">
                  <c:v>7.1442598795916926E-2</c:v>
                </c:pt>
                <c:pt idx="10">
                  <c:v>2.9383996426922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026953427596778E-4</c:v>
                </c:pt>
                <c:pt idx="1">
                  <c:v>1.1616987661786514E-3</c:v>
                </c:pt>
                <c:pt idx="2">
                  <c:v>1.8942375567857307E-2</c:v>
                </c:pt>
                <c:pt idx="3">
                  <c:v>2.6785878801813978E-4</c:v>
                </c:pt>
                <c:pt idx="4">
                  <c:v>9.5626644052705895E-4</c:v>
                </c:pt>
                <c:pt idx="5">
                  <c:v>4.4772201259660138E-2</c:v>
                </c:pt>
                <c:pt idx="6">
                  <c:v>1.6746882082728166E-2</c:v>
                </c:pt>
                <c:pt idx="7">
                  <c:v>9.1466664264135092E-2</c:v>
                </c:pt>
                <c:pt idx="8">
                  <c:v>0.18740549520159638</c:v>
                </c:pt>
                <c:pt idx="9">
                  <c:v>6.9317613526885161E-2</c:v>
                </c:pt>
                <c:pt idx="10">
                  <c:v>2.542150612316626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6526153264520981E-4</c:v>
                </c:pt>
                <c:pt idx="4">
                  <c:v>3.5545329008789726E-2</c:v>
                </c:pt>
                <c:pt idx="5">
                  <c:v>3.333909458024299E-6</c:v>
                </c:pt>
                <c:pt idx="6">
                  <c:v>8.0993148012353439E-2</c:v>
                </c:pt>
                <c:pt idx="7">
                  <c:v>1.8433696394419587E-2</c:v>
                </c:pt>
                <c:pt idx="8">
                  <c:v>0.106145118470422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3927200276801803E-3</c:v>
                </c:pt>
                <c:pt idx="6">
                  <c:v>2.0531881397242643E-2</c:v>
                </c:pt>
                <c:pt idx="7">
                  <c:v>5.2946351909761071E-3</c:v>
                </c:pt>
                <c:pt idx="8">
                  <c:v>5.19189670286376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306101160477325E-2</c:v>
                </c:pt>
                <c:pt idx="1">
                  <c:v>2.2288960827466803E-2</c:v>
                </c:pt>
                <c:pt idx="2">
                  <c:v>2.3475787943950353E-2</c:v>
                </c:pt>
                <c:pt idx="3">
                  <c:v>1.8005596621900367E-2</c:v>
                </c:pt>
                <c:pt idx="4">
                  <c:v>1.372141382249379E-2</c:v>
                </c:pt>
                <c:pt idx="5">
                  <c:v>2.7710537597762059E-2</c:v>
                </c:pt>
                <c:pt idx="6">
                  <c:v>2.6540642970832432E-2</c:v>
                </c:pt>
                <c:pt idx="7">
                  <c:v>4.9454632442882167E-2</c:v>
                </c:pt>
                <c:pt idx="8">
                  <c:v>2.533152529602313E-2</c:v>
                </c:pt>
                <c:pt idx="9">
                  <c:v>2.1249852690317585E-3</c:v>
                </c:pt>
                <c:pt idx="10">
                  <c:v>3.96249030375596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31651380679903E-3</c:v>
                </c:pt>
                <c:pt idx="3">
                  <c:v>0.38021225596049668</c:v>
                </c:pt>
                <c:pt idx="4">
                  <c:v>0.10773548689713384</c:v>
                </c:pt>
                <c:pt idx="5">
                  <c:v>0.11240208748273982</c:v>
                </c:pt>
                <c:pt idx="6">
                  <c:v>5.7039334901111492E-3</c:v>
                </c:pt>
                <c:pt idx="7">
                  <c:v>0.18405881254330331</c:v>
                </c:pt>
                <c:pt idx="8">
                  <c:v>0.2011401678119552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45E-2</c:v>
                </c:pt>
                <c:pt idx="3">
                  <c:v>2.4302963422487257E-2</c:v>
                </c:pt>
                <c:pt idx="4">
                  <c:v>6.8264835910008592E-2</c:v>
                </c:pt>
                <c:pt idx="5">
                  <c:v>8.1085129025960004E-2</c:v>
                </c:pt>
                <c:pt idx="6">
                  <c:v>0.17391019501158078</c:v>
                </c:pt>
                <c:pt idx="7">
                  <c:v>0.21549263910120095</c:v>
                </c:pt>
                <c:pt idx="8">
                  <c:v>0.18617788954780062</c:v>
                </c:pt>
                <c:pt idx="9">
                  <c:v>9.8373163005540581E-2</c:v>
                </c:pt>
                <c:pt idx="10">
                  <c:v>1.21110961242787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5.8471293157413735E-3</c:v>
                </c:pt>
                <c:pt idx="1">
                  <c:v>1.092006253138679E-2</c:v>
                </c:pt>
                <c:pt idx="2">
                  <c:v>9.7703092868681816E-3</c:v>
                </c:pt>
                <c:pt idx="3">
                  <c:v>5.6818865986670236E-4</c:v>
                </c:pt>
                <c:pt idx="4">
                  <c:v>1.2979075352347186E-2</c:v>
                </c:pt>
                <c:pt idx="5">
                  <c:v>5.1461671621167847E-2</c:v>
                </c:pt>
                <c:pt idx="6">
                  <c:v>2.6026577204275821E-2</c:v>
                </c:pt>
                <c:pt idx="7">
                  <c:v>0.11304358006717868</c:v>
                </c:pt>
                <c:pt idx="8">
                  <c:v>6.842125233657842E-2</c:v>
                </c:pt>
                <c:pt idx="9">
                  <c:v>9.1647256663037982E-2</c:v>
                </c:pt>
                <c:pt idx="10">
                  <c:v>1.081169024282095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8932929382426877E-5</c:v>
                </c:pt>
                <c:pt idx="2">
                  <c:v>2.8693026863497596E-5</c:v>
                </c:pt>
                <c:pt idx="4">
                  <c:v>3.7624171272741688E-2</c:v>
                </c:pt>
                <c:pt idx="5">
                  <c:v>1.3659670309841923E-2</c:v>
                </c:pt>
                <c:pt idx="6">
                  <c:v>8.0220122225621637E-2</c:v>
                </c:pt>
                <c:pt idx="7">
                  <c:v>5.0437609606376867E-2</c:v>
                </c:pt>
                <c:pt idx="8">
                  <c:v>7.86507713768433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761514813472729E-3</c:v>
                </c:pt>
                <c:pt idx="4">
                  <c:v>7.3097457442948424E-6</c:v>
                </c:pt>
                <c:pt idx="5">
                  <c:v>1.7895228170680318E-5</c:v>
                </c:pt>
                <c:pt idx="6">
                  <c:v>2.2748960006682504E-2</c:v>
                </c:pt>
                <c:pt idx="7">
                  <c:v>3.1314526136026239E-3</c:v>
                </c:pt>
                <c:pt idx="8">
                  <c:v>2.66102042898016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1152539137243144E-2</c:v>
                </c:pt>
                <c:pt idx="1">
                  <c:v>3.3155277835094747E-2</c:v>
                </c:pt>
                <c:pt idx="2">
                  <c:v>2.9349144788562265E-2</c:v>
                </c:pt>
                <c:pt idx="3">
                  <c:v>1.6973259949147827E-2</c:v>
                </c:pt>
                <c:pt idx="4">
                  <c:v>1.7654279539175428E-2</c:v>
                </c:pt>
                <c:pt idx="5">
                  <c:v>1.5945891866779548E-2</c:v>
                </c:pt>
                <c:pt idx="6">
                  <c:v>4.491453557500083E-2</c:v>
                </c:pt>
                <c:pt idx="7">
                  <c:v>4.8879996814042766E-2</c:v>
                </c:pt>
                <c:pt idx="8">
                  <c:v>1.249566154457718E-2</c:v>
                </c:pt>
                <c:pt idx="9">
                  <c:v>6.7259063425025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165525822856861E-2</c:v>
                </c:pt>
                <c:pt idx="1">
                  <c:v>9.4537188852260035E-3</c:v>
                </c:pt>
                <c:pt idx="2">
                  <c:v>2.0219498100420973E-2</c:v>
                </c:pt>
                <c:pt idx="3">
                  <c:v>8.240412408021246E-3</c:v>
                </c:pt>
                <c:pt idx="4">
                  <c:v>5.5533695297342311E-2</c:v>
                </c:pt>
                <c:pt idx="5">
                  <c:v>9.3213785174338426E-2</c:v>
                </c:pt>
                <c:pt idx="6">
                  <c:v>0.21615012501036701</c:v>
                </c:pt>
                <c:pt idx="7">
                  <c:v>0.151632184131818</c:v>
                </c:pt>
                <c:pt idx="8">
                  <c:v>0.34844429515359976</c:v>
                </c:pt>
                <c:pt idx="9">
                  <c:v>8.29467600160094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1517237159222177E-3</c:v>
                </c:pt>
                <c:pt idx="4">
                  <c:v>4.2664254916507265E-2</c:v>
                </c:pt>
                <c:pt idx="5">
                  <c:v>2.363851662450068E-3</c:v>
                </c:pt>
                <c:pt idx="6">
                  <c:v>0.13061912267877912</c:v>
                </c:pt>
                <c:pt idx="7">
                  <c:v>1.8629309868748042E-2</c:v>
                </c:pt>
                <c:pt idx="8">
                  <c:v>0.126846419350542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2.5154757217617264E-3</c:v>
                </c:pt>
                <c:pt idx="2">
                  <c:v>1.7887792465559889E-2</c:v>
                </c:pt>
                <c:pt idx="4">
                  <c:v>8.1499796271115744E-3</c:v>
                </c:pt>
                <c:pt idx="5">
                  <c:v>8.1816742758027902E-2</c:v>
                </c:pt>
                <c:pt idx="6">
                  <c:v>2.9206648206708926E-2</c:v>
                </c:pt>
                <c:pt idx="7">
                  <c:v>7.7167343859306056E-2</c:v>
                </c:pt>
                <c:pt idx="8">
                  <c:v>0.1235200316263531</c:v>
                </c:pt>
                <c:pt idx="9">
                  <c:v>8.294676001600942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2.2506262097199775E-2</c:v>
                </c:pt>
                <c:pt idx="7">
                  <c:v>4.2216487049919794E-3</c:v>
                </c:pt>
                <c:pt idx="8">
                  <c:v>6.945060947337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165525822856861E-2</c:v>
                </c:pt>
                <c:pt idx="1">
                  <c:v>6.938243163464277E-3</c:v>
                </c:pt>
                <c:pt idx="2">
                  <c:v>2.3317056348610837E-3</c:v>
                </c:pt>
                <c:pt idx="3">
                  <c:v>5.0886886920990283E-3</c:v>
                </c:pt>
                <c:pt idx="4">
                  <c:v>4.7194607537234734E-3</c:v>
                </c:pt>
                <c:pt idx="5">
                  <c:v>9.0331907538604584E-3</c:v>
                </c:pt>
                <c:pt idx="6">
                  <c:v>3.3818092027679179E-2</c:v>
                </c:pt>
                <c:pt idx="7">
                  <c:v>5.1613881698771936E-2</c:v>
                </c:pt>
                <c:pt idx="8">
                  <c:v>2.86272347033284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9E-2</c:v>
                </c:pt>
                <c:pt idx="4">
                  <c:v>7.0418162902305598E-2</c:v>
                </c:pt>
                <c:pt idx="5">
                  <c:v>0.21572543411195483</c:v>
                </c:pt>
                <c:pt idx="6">
                  <c:v>0.35475670948466687</c:v>
                </c:pt>
                <c:pt idx="7">
                  <c:v>0.11896334298735282</c:v>
                </c:pt>
                <c:pt idx="8">
                  <c:v>3.931459111135447E-2</c:v>
                </c:pt>
                <c:pt idx="9">
                  <c:v>2.42476773143495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5069372932280362E-5</c:v>
                </c:pt>
                <c:pt idx="1">
                  <c:v>2.3305851073747173E-6</c:v>
                </c:pt>
                <c:pt idx="2">
                  <c:v>1.2417848101588783E-3</c:v>
                </c:pt>
                <c:pt idx="3">
                  <c:v>2.0887685031284794E-3</c:v>
                </c:pt>
                <c:pt idx="4">
                  <c:v>3.1903502197226574E-3</c:v>
                </c:pt>
                <c:pt idx="5">
                  <c:v>7.476247167235133E-3</c:v>
                </c:pt>
                <c:pt idx="6">
                  <c:v>0.20295954379017314</c:v>
                </c:pt>
                <c:pt idx="7">
                  <c:v>0.10730673757925707</c:v>
                </c:pt>
                <c:pt idx="9">
                  <c:v>1.2066248672547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5.7857511264821783E-2</c:v>
                </c:pt>
                <c:pt idx="4">
                  <c:v>2.3203550653770827E-3</c:v>
                </c:pt>
                <c:pt idx="5">
                  <c:v>0.1228202650802594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9.3137540633138035E-4</c:v>
                </c:pt>
                <c:pt idx="2">
                  <c:v>5.9809682948183292E-3</c:v>
                </c:pt>
                <c:pt idx="3">
                  <c:v>2.2406981196544965E-3</c:v>
                </c:pt>
                <c:pt idx="4">
                  <c:v>5.6405139690855491E-2</c:v>
                </c:pt>
                <c:pt idx="5">
                  <c:v>1.3637038502443532E-2</c:v>
                </c:pt>
                <c:pt idx="6">
                  <c:v>8.6067281391607575E-2</c:v>
                </c:pt>
                <c:pt idx="8">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1131319001265286E-2</c:v>
                </c:pt>
                <c:pt idx="1">
                  <c:v>1.8150915738406884E-2</c:v>
                </c:pt>
                <c:pt idx="2">
                  <c:v>1.2578830201321339E-2</c:v>
                </c:pt>
                <c:pt idx="3">
                  <c:v>3.4294510790069337E-2</c:v>
                </c:pt>
                <c:pt idx="4">
                  <c:v>8.5023179263503702E-3</c:v>
                </c:pt>
                <c:pt idx="5">
                  <c:v>7.1791883362016695E-2</c:v>
                </c:pt>
                <c:pt idx="6">
                  <c:v>6.5729884302886177E-2</c:v>
                </c:pt>
                <c:pt idx="7">
                  <c:v>1.1656605408095756E-2</c:v>
                </c:pt>
                <c:pt idx="8">
                  <c:v>2.2251273578897519E-2</c:v>
                </c:pt>
                <c:pt idx="9">
                  <c:v>1.21814286418017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64E-2</c:v>
                </c:pt>
                <c:pt idx="1">
                  <c:v>2.062966834660215E-2</c:v>
                </c:pt>
                <c:pt idx="2">
                  <c:v>8.0083321202325128E-2</c:v>
                </c:pt>
                <c:pt idx="3">
                  <c:v>2.8380127651671069E-2</c:v>
                </c:pt>
                <c:pt idx="4">
                  <c:v>0.14083598542271125</c:v>
                </c:pt>
                <c:pt idx="5">
                  <c:v>0.28115211531318074</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3435823860633241E-3</c:v>
                </c:pt>
                <c:pt idx="3">
                  <c:v>0.38001590936473439</c:v>
                </c:pt>
                <c:pt idx="4">
                  <c:v>0.10724137624689321</c:v>
                </c:pt>
                <c:pt idx="7">
                  <c:v>3.8468460617734138E-2</c:v>
                </c:pt>
                <c:pt idx="8">
                  <c:v>4.210651248817253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8676389366778733E-5</c:v>
                </c:pt>
                <c:pt idx="7">
                  <c:v>4.1238774330083286E-3</c:v>
                </c:pt>
                <c:pt idx="8">
                  <c:v>0.139533254095952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0.11240208748273982</c:v>
                </c:pt>
                <c:pt idx="6">
                  <c:v>5.1927535628622044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2">
                  <c:v>9.5827520046668004E-6</c:v>
                </c:pt>
                <c:pt idx="3">
                  <c:v>1.9634659576228745E-4</c:v>
                </c:pt>
                <c:pt idx="4">
                  <c:v>4.9411065024063193E-4</c:v>
                </c:pt>
                <c:pt idx="6">
                  <c:v>4.4250353788216591E-4</c:v>
                </c:pt>
                <c:pt idx="7">
                  <c:v>0.14146647449256083</c:v>
                </c:pt>
                <c:pt idx="8">
                  <c:v>1.9500401227830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703903842099452E-3</c:v>
                </c:pt>
                <c:pt idx="1">
                  <c:v>1.3804250705271718E-5</c:v>
                </c:pt>
                <c:pt idx="2">
                  <c:v>7.2152308572690678E-3</c:v>
                </c:pt>
                <c:pt idx="4">
                  <c:v>4.8225463571837318E-3</c:v>
                </c:pt>
                <c:pt idx="5">
                  <c:v>2.9913968144809101E-2</c:v>
                </c:pt>
                <c:pt idx="6">
                  <c:v>0.12019831688535947</c:v>
                </c:pt>
                <c:pt idx="7">
                  <c:v>4.8305779212304355E-2</c:v>
                </c:pt>
                <c:pt idx="8">
                  <c:v>1.4731331633318944E-3</c:v>
                </c:pt>
                <c:pt idx="9">
                  <c:v>6.298973716706656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0092651620870016E-3</c:v>
                </c:pt>
                <c:pt idx="2">
                  <c:v>4.5795287981768351E-2</c:v>
                </c:pt>
                <c:pt idx="3">
                  <c:v>1.8224748260664411E-3</c:v>
                </c:pt>
                <c:pt idx="4">
                  <c:v>2.6213174023913981E-2</c:v>
                </c:pt>
                <c:pt idx="5">
                  <c:v>8.54414097402792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8.6260880259419516E-4</c:v>
                </c:pt>
                <c:pt idx="2">
                  <c:v>1.0020160480689108E-2</c:v>
                </c:pt>
                <c:pt idx="3">
                  <c:v>1.4463089943477869E-4</c:v>
                </c:pt>
                <c:pt idx="4">
                  <c:v>7.3316728492977407E-2</c:v>
                </c:pt>
                <c:pt idx="5">
                  <c:v>2.2879918078046724E-2</c:v>
                </c:pt>
                <c:pt idx="6">
                  <c:v>6.901042973887378E-2</c:v>
                </c:pt>
                <c:pt idx="8">
                  <c:v>2.06328056763078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49833972511972E-2</c:v>
                </c:pt>
                <c:pt idx="1">
                  <c:v>1.9753255293302682E-2</c:v>
                </c:pt>
                <c:pt idx="2">
                  <c:v>1.7052641882598613E-2</c:v>
                </c:pt>
                <c:pt idx="3">
                  <c:v>2.6413021926169847E-2</c:v>
                </c:pt>
                <c:pt idx="4">
                  <c:v>3.648353654863614E-2</c:v>
                </c:pt>
                <c:pt idx="5">
                  <c:v>0.14291681935004569</c:v>
                </c:pt>
                <c:pt idx="6">
                  <c:v>3.1193841798267188E-2</c:v>
                </c:pt>
                <c:pt idx="7">
                  <c:v>2.8138396397843525E-2</c:v>
                </c:pt>
                <c:pt idx="8">
                  <c:v>6.0849764574778878E-2</c:v>
                </c:pt>
                <c:pt idx="9">
                  <c:v>8.7393456283192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c:v>
                </c:pt>
                <c:pt idx="5">
                  <c:v>0.23404232341194106</c:v>
                </c:pt>
                <c:pt idx="6">
                  <c:v>0.17198108201208442</c:v>
                </c:pt>
                <c:pt idx="7">
                  <c:v>0.22892217743061699</c:v>
                </c:pt>
                <c:pt idx="8">
                  <c:v>4.438874975561162E-2</c:v>
                </c:pt>
                <c:pt idx="9">
                  <c:v>3.190008472130415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7381646200109857E-3</c:v>
                </c:pt>
                <c:pt idx="4">
                  <c:v>2.0456936440401821E-2</c:v>
                </c:pt>
                <c:pt idx="6">
                  <c:v>2.1934438744635094E-2</c:v>
                </c:pt>
                <c:pt idx="7">
                  <c:v>0.21666793903790116</c:v>
                </c:pt>
                <c:pt idx="8">
                  <c:v>4.7464412397240502E-3</c:v>
                </c:pt>
                <c:pt idx="9">
                  <c:v>1.84489484317248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2037314613959463E-3</c:v>
                </c:pt>
                <c:pt idx="1">
                  <c:v>7.9541946355587423E-2</c:v>
                </c:pt>
                <c:pt idx="4">
                  <c:v>2.6674549161631492E-2</c:v>
                </c:pt>
                <c:pt idx="5">
                  <c:v>0.154285129083613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4451499380882779E-3</c:v>
                </c:pt>
                <c:pt idx="4">
                  <c:v>3.3661356844271073E-2</c:v>
                </c:pt>
                <c:pt idx="6">
                  <c:v>0.11889825064471982</c:v>
                </c:pt>
                <c:pt idx="8">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176211002597501E-2</c:v>
                </c:pt>
                <c:pt idx="1">
                  <c:v>1.1987971436817459E-2</c:v>
                </c:pt>
                <c:pt idx="2">
                  <c:v>4.8661682695440873E-3</c:v>
                </c:pt>
                <c:pt idx="3">
                  <c:v>3.1255644207762709E-2</c:v>
                </c:pt>
                <c:pt idx="4">
                  <c:v>3.9757752930333019E-2</c:v>
                </c:pt>
                <c:pt idx="5">
                  <c:v>7.9757194328327646E-2</c:v>
                </c:pt>
                <c:pt idx="6">
                  <c:v>3.1148392622729518E-2</c:v>
                </c:pt>
                <c:pt idx="7">
                  <c:v>1.2254238392715829E-2</c:v>
                </c:pt>
                <c:pt idx="8">
                  <c:v>1.5913826330636528E-2</c:v>
                </c:pt>
                <c:pt idx="9">
                  <c:v>1.3451136289579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79075732324675E-2</c:v>
                </c:pt>
                <c:pt idx="1">
                  <c:v>5.824230887877261E-3</c:v>
                </c:pt>
                <c:pt idx="2">
                  <c:v>8.8857628345494141E-3</c:v>
                </c:pt>
                <c:pt idx="3">
                  <c:v>2.8017279950396302E-2</c:v>
                </c:pt>
                <c:pt idx="4">
                  <c:v>0.10832678515330775</c:v>
                </c:pt>
                <c:pt idx="5">
                  <c:v>6.6750441766783075E-2</c:v>
                </c:pt>
                <c:pt idx="6">
                  <c:v>0.21478575642534897</c:v>
                </c:pt>
                <c:pt idx="7">
                  <c:v>0.26519036993065692</c:v>
                </c:pt>
                <c:pt idx="8">
                  <c:v>0.15819348490249532</c:v>
                </c:pt>
                <c:pt idx="9">
                  <c:v>4.991458045757674E-2</c:v>
                </c:pt>
                <c:pt idx="10">
                  <c:v>1.732055036776149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28367928131451E-2</c:v>
                </c:pt>
                <c:pt idx="3">
                  <c:v>7.8465183354599899E-3</c:v>
                </c:pt>
                <c:pt idx="4">
                  <c:v>4.0169583068061653E-6</c:v>
                </c:pt>
                <c:pt idx="5">
                  <c:v>2.9226348535045792E-2</c:v>
                </c:pt>
                <c:pt idx="6">
                  <c:v>1.1542442769014174E-2</c:v>
                </c:pt>
                <c:pt idx="7">
                  <c:v>0.12413972085654607</c:v>
                </c:pt>
                <c:pt idx="8">
                  <c:v>0.13690292442813845</c:v>
                </c:pt>
                <c:pt idx="9">
                  <c:v>4.9094188454809916E-2</c:v>
                </c:pt>
                <c:pt idx="10">
                  <c:v>1.73205503677614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4.5296979286805553E-2</c:v>
                </c:pt>
                <c:pt idx="6">
                  <c:v>8.96656825477472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8627432245838707E-3</c:v>
                </c:pt>
                <c:pt idx="7">
                  <c:v>4.10951691664879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50707804193224E-2</c:v>
                </c:pt>
                <c:pt idx="1">
                  <c:v>5.824230887877261E-3</c:v>
                </c:pt>
                <c:pt idx="2">
                  <c:v>8.8857628345494141E-3</c:v>
                </c:pt>
                <c:pt idx="3">
                  <c:v>2.0170761614936313E-2</c:v>
                </c:pt>
                <c:pt idx="4">
                  <c:v>6.3025788908195393E-2</c:v>
                </c:pt>
                <c:pt idx="5">
                  <c:v>3.2661350007153415E-2</c:v>
                </c:pt>
                <c:pt idx="6">
                  <c:v>0.1135776311085876</c:v>
                </c:pt>
                <c:pt idx="7">
                  <c:v>9.9955479907622879E-2</c:v>
                </c:pt>
                <c:pt idx="8">
                  <c:v>2.129056047435687E-2</c:v>
                </c:pt>
                <c:pt idx="9">
                  <c:v>8.203920027668234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448429682449359E-2</c:v>
                </c:pt>
                <c:pt idx="1">
                  <c:v>6.0672713405118314E-3</c:v>
                </c:pt>
                <c:pt idx="2">
                  <c:v>8.8689164590058552E-3</c:v>
                </c:pt>
                <c:pt idx="3">
                  <c:v>2.6540558614162744E-2</c:v>
                </c:pt>
                <c:pt idx="4">
                  <c:v>0.10919847111894317</c:v>
                </c:pt>
                <c:pt idx="5">
                  <c:v>6.8477411550126682E-2</c:v>
                </c:pt>
                <c:pt idx="6">
                  <c:v>0.21762123672328099</c:v>
                </c:pt>
                <c:pt idx="7">
                  <c:v>0.26121260760034987</c:v>
                </c:pt>
                <c:pt idx="8">
                  <c:v>0.1583424397951064</c:v>
                </c:pt>
                <c:pt idx="9">
                  <c:v>5.2444286750582443E-2</c:v>
                </c:pt>
                <c:pt idx="10">
                  <c:v>1.477837036548063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292093916979203E-2</c:v>
                </c:pt>
                <c:pt idx="3">
                  <c:v>7.2800152687201468E-3</c:v>
                </c:pt>
                <c:pt idx="4">
                  <c:v>5.7254112975613821E-4</c:v>
                </c:pt>
                <c:pt idx="5">
                  <c:v>2.9234110091203337E-2</c:v>
                </c:pt>
                <c:pt idx="6">
                  <c:v>1.1545965090023026E-2</c:v>
                </c:pt>
                <c:pt idx="7">
                  <c:v>0.12426151557832789</c:v>
                </c:pt>
                <c:pt idx="8">
                  <c:v>0.13685275658517371</c:v>
                </c:pt>
                <c:pt idx="9">
                  <c:v>5.168465357297379E-2</c:v>
                </c:pt>
                <c:pt idx="10">
                  <c:v>1.474837823662067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4.5309604154125105E-2</c:v>
                </c:pt>
                <c:pt idx="6">
                  <c:v>8.96906362134148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5.9912506215474071E-5</c:v>
                </c:pt>
                <c:pt idx="5">
                  <c:v>4.8040861046753994E-3</c:v>
                </c:pt>
                <c:pt idx="6">
                  <c:v>6.8594438253884085E-4</c:v>
                </c:pt>
                <c:pt idx="7">
                  <c:v>4.042045664092461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156335765470163E-2</c:v>
                </c:pt>
                <c:pt idx="1">
                  <c:v>6.0672713405118322E-3</c:v>
                </c:pt>
                <c:pt idx="2">
                  <c:v>8.8689164590058534E-3</c:v>
                </c:pt>
                <c:pt idx="3">
                  <c:v>1.9260543345442596E-2</c:v>
                </c:pt>
                <c:pt idx="4">
                  <c:v>6.3256413328846475E-2</c:v>
                </c:pt>
                <c:pt idx="5">
                  <c:v>3.4439215354247939E-2</c:v>
                </c:pt>
                <c:pt idx="6">
                  <c:v>0.11569869103730432</c:v>
                </c:pt>
                <c:pt idx="7">
                  <c:v>9.6530635381097352E-2</c:v>
                </c:pt>
                <c:pt idx="8">
                  <c:v>2.1489683209932702E-2</c:v>
                </c:pt>
                <c:pt idx="9">
                  <c:v>7.5963317760865143E-4</c:v>
                </c:pt>
                <c:pt idx="10">
                  <c:v>2.999212885996187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369975056001314E-3</c:v>
                </c:pt>
                <c:pt idx="2">
                  <c:v>4.4690603279236144E-2</c:v>
                </c:pt>
                <c:pt idx="3">
                  <c:v>7.7853908432242444E-3</c:v>
                </c:pt>
                <c:pt idx="4">
                  <c:v>5.3968870489838842E-3</c:v>
                </c:pt>
                <c:pt idx="5">
                  <c:v>1.5186923790371032E-2</c:v>
                </c:pt>
                <c:pt idx="6">
                  <c:v>6.7983065975468271E-2</c:v>
                </c:pt>
                <c:pt idx="7">
                  <c:v>0.17035517494191399</c:v>
                </c:pt>
                <c:pt idx="8">
                  <c:v>0.26971004523275183</c:v>
                </c:pt>
                <c:pt idx="9">
                  <c:v>0.19172318249558798</c:v>
                </c:pt>
                <c:pt idx="10">
                  <c:v>0.2219317288868625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3.0562447641932109E-3</c:v>
                </c:pt>
                <c:pt idx="3">
                  <c:v>6.0891987761119311E-4</c:v>
                </c:pt>
                <c:pt idx="4">
                  <c:v>8.840231951314473E-4</c:v>
                </c:pt>
                <c:pt idx="5">
                  <c:v>2.3583031058826112E-3</c:v>
                </c:pt>
                <c:pt idx="6">
                  <c:v>2.6224203667186166E-4</c:v>
                </c:pt>
                <c:pt idx="7">
                  <c:v>5.7356650532077134E-3</c:v>
                </c:pt>
                <c:pt idx="8">
                  <c:v>6.141739514178380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924641522600352E-3</c:v>
                </c:pt>
                <c:pt idx="1">
                  <c:v>2.1422101798383862E-3</c:v>
                </c:pt>
                <c:pt idx="2">
                  <c:v>2.7074550203117368E-3</c:v>
                </c:pt>
                <c:pt idx="3">
                  <c:v>7.9417700502922572E-3</c:v>
                </c:pt>
                <c:pt idx="4">
                  <c:v>2.459290169199415E-2</c:v>
                </c:pt>
                <c:pt idx="5">
                  <c:v>1.4846155559474121E-2</c:v>
                </c:pt>
                <c:pt idx="6">
                  <c:v>3.1597286585746169E-2</c:v>
                </c:pt>
                <c:pt idx="7">
                  <c:v>5.7406291304896682E-2</c:v>
                </c:pt>
                <c:pt idx="8">
                  <c:v>0.11443574382985335</c:v>
                </c:pt>
                <c:pt idx="9">
                  <c:v>7.4895677407709887E-2</c:v>
                </c:pt>
                <c:pt idx="10">
                  <c:v>7.093295097313226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6.1071447493887582E-4</c:v>
                </c:pt>
                <c:pt idx="3">
                  <c:v>2.5754487323157918E-4</c:v>
                </c:pt>
                <c:pt idx="4">
                  <c:v>7.6761104761007221E-4</c:v>
                </c:pt>
                <c:pt idx="5">
                  <c:v>1.7701941851515909E-2</c:v>
                </c:pt>
                <c:pt idx="6">
                  <c:v>8.2285753127785636E-3</c:v>
                </c:pt>
                <c:pt idx="7">
                  <c:v>2.0732456251415258E-3</c:v>
                </c:pt>
                <c:pt idx="8">
                  <c:v>9.6053026033595973E-4</c:v>
                </c:pt>
                <c:pt idx="10">
                  <c:v>6.3214040651199161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7871533932358433E-5</c:v>
                </c:pt>
                <c:pt idx="4">
                  <c:v>4.6586056063942253E-3</c:v>
                </c:pt>
                <c:pt idx="5">
                  <c:v>2.7607539107274893E-5</c:v>
                </c:pt>
                <c:pt idx="6">
                  <c:v>1.0789796009324663E-2</c:v>
                </c:pt>
                <c:pt idx="7">
                  <c:v>2.41593828962384E-3</c:v>
                </c:pt>
                <c:pt idx="8">
                  <c:v>1.429646064475857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01532378373694E-2</c:v>
                </c:pt>
                <c:pt idx="1">
                  <c:v>1.7246209061882276E-2</c:v>
                </c:pt>
                <c:pt idx="2">
                  <c:v>1.4713440535577025E-2</c:v>
                </c:pt>
                <c:pt idx="3">
                  <c:v>3.776243844267016E-2</c:v>
                </c:pt>
                <c:pt idx="4">
                  <c:v>4.3725687696767074E-2</c:v>
                </c:pt>
                <c:pt idx="5">
                  <c:v>6.1071507964014927E-2</c:v>
                </c:pt>
                <c:pt idx="6">
                  <c:v>7.5660267549818361E-2</c:v>
                </c:pt>
                <c:pt idx="7">
                  <c:v>0.11062538911185876</c:v>
                </c:pt>
                <c:pt idx="8">
                  <c:v>9.4476261611105672E-2</c:v>
                </c:pt>
                <c:pt idx="9">
                  <c:v>2.8360991042056118E-2</c:v>
                </c:pt>
                <c:pt idx="10">
                  <c:v>1.2475465830731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8">
                  <c:v>0.24939152804345749</c:v>
                </c:pt>
                <c:pt idx="10">
                  <c:v>0.2219317288868625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6.3367546825805143E-2</c:v>
                </c:pt>
                <c:pt idx="7">
                  <c:v>9.2813174111226304E-2</c:v>
                </c:pt>
                <c:pt idx="9">
                  <c:v>0.1917174018736348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1232577420669265E-3</c:v>
                </c:pt>
                <c:pt idx="2">
                  <c:v>3.0404472577897877E-2</c:v>
                </c:pt>
                <c:pt idx="3">
                  <c:v>5.8615506604483576E-3</c:v>
                </c:pt>
                <c:pt idx="4">
                  <c:v>8.8566507838953846E-4</c:v>
                </c:pt>
                <c:pt idx="5">
                  <c:v>5.0086014424742635E-3</c:v>
                </c:pt>
                <c:pt idx="6">
                  <c:v>4.3815884484970568E-3</c:v>
                </c:pt>
                <c:pt idx="7">
                  <c:v>3.8275096846941307E-4</c:v>
                </c:pt>
                <c:pt idx="8">
                  <c:v>4.423528705646179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1137397635332049E-3</c:v>
                </c:pt>
                <c:pt idx="2">
                  <c:v>1.4286130701338263E-2</c:v>
                </c:pt>
                <c:pt idx="3">
                  <c:v>1.9238401827758867E-3</c:v>
                </c:pt>
                <c:pt idx="4">
                  <c:v>4.5112219705943455E-3</c:v>
                </c:pt>
                <c:pt idx="5">
                  <c:v>1.0178322347896769E-2</c:v>
                </c:pt>
                <c:pt idx="6">
                  <c:v>2.3393070116607445E-4</c:v>
                </c:pt>
                <c:pt idx="7">
                  <c:v>7.7159249862218254E-2</c:v>
                </c:pt>
                <c:pt idx="8">
                  <c:v>1.5894988483648159E-2</c:v>
                </c:pt>
                <c:pt idx="9">
                  <c:v>5.7806219531048886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2916582284430348E-3</c:v>
                </c:pt>
                <c:pt idx="2">
                  <c:v>3.9469355283623969E-2</c:v>
                </c:pt>
                <c:pt idx="3">
                  <c:v>1.2088662743128498E-2</c:v>
                </c:pt>
                <c:pt idx="4">
                  <c:v>7.0793722896692265E-3</c:v>
                </c:pt>
                <c:pt idx="5">
                  <c:v>1.3690961450585395E-2</c:v>
                </c:pt>
                <c:pt idx="6">
                  <c:v>7.0728144672698209E-2</c:v>
                </c:pt>
                <c:pt idx="7">
                  <c:v>0.1685900484983571</c:v>
                </c:pt>
                <c:pt idx="8">
                  <c:v>0.27547271072325769</c:v>
                </c:pt>
                <c:pt idx="9">
                  <c:v>0.18549766489847433</c:v>
                </c:pt>
                <c:pt idx="10">
                  <c:v>0.2220174765351763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6">
                  <c:v>5.6596591064284131E-6</c:v>
                </c:pt>
                <c:pt idx="8">
                  <c:v>0.24946682320135419</c:v>
                </c:pt>
                <c:pt idx="10">
                  <c:v>0.2220116938400024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5">
                  <c:v>8.3479971819819092E-4</c:v>
                </c:pt>
                <c:pt idx="6">
                  <c:v>6.3755690725713479E-2</c:v>
                </c:pt>
                <c:pt idx="7">
                  <c:v>9.1645137405449856E-2</c:v>
                </c:pt>
                <c:pt idx="8">
                  <c:v>6.2878812672419668E-3</c:v>
                </c:pt>
                <c:pt idx="9">
                  <c:v>0.185497664898474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3.2043513427787301E-3</c:v>
                </c:pt>
                <c:pt idx="2">
                  <c:v>2.4718684183393624E-2</c:v>
                </c:pt>
                <c:pt idx="3">
                  <c:v>1.0682360491248568E-2</c:v>
                </c:pt>
                <c:pt idx="4">
                  <c:v>2.0022889630003475E-3</c:v>
                </c:pt>
                <c:pt idx="5">
                  <c:v>3.8732984419450624E-3</c:v>
                </c:pt>
                <c:pt idx="6">
                  <c:v>5.0206097716721269E-3</c:v>
                </c:pt>
                <c:pt idx="7">
                  <c:v>5.1330647373955089E-4</c:v>
                </c:pt>
                <c:pt idx="8">
                  <c:v>4.424376988416646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0873068856643051E-3</c:v>
                </c:pt>
                <c:pt idx="2">
                  <c:v>1.4750671100230348E-2</c:v>
                </c:pt>
                <c:pt idx="3">
                  <c:v>1.4063022518799296E-3</c:v>
                </c:pt>
                <c:pt idx="4">
                  <c:v>5.077083326668879E-3</c:v>
                </c:pt>
                <c:pt idx="5">
                  <c:v>8.9828632904421415E-3</c:v>
                </c:pt>
                <c:pt idx="6">
                  <c:v>1.9461845162061877E-3</c:v>
                </c:pt>
                <c:pt idx="7">
                  <c:v>7.643160461916769E-2</c:v>
                </c:pt>
                <c:pt idx="8">
                  <c:v>1.5293629266244883E-2</c:v>
                </c:pt>
                <c:pt idx="10">
                  <c:v>5.7826951739594654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6769999999999999</c:v>
                </c:pt>
                <c:pt idx="3">
                  <c:v>3.3399999999999999E-2</c:v>
                </c:pt>
                <c:pt idx="4">
                  <c:v>4.8500000000000001E-2</c:v>
                </c:pt>
                <c:pt idx="5">
                  <c:v>0.12939999999999999</c:v>
                </c:pt>
                <c:pt idx="7">
                  <c:v>0.314</c:v>
                </c:pt>
                <c:pt idx="8">
                  <c:v>0.3070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2">
                  <c:v>3.4267255754208456E-2</c:v>
                </c:pt>
                <c:pt idx="3">
                  <c:v>6.8273370720791371E-3</c:v>
                </c:pt>
                <c:pt idx="4">
                  <c:v>9.9118530279817454E-3</c:v>
                </c:pt>
                <c:pt idx="5">
                  <c:v>2.6441787850900917E-2</c:v>
                </c:pt>
                <c:pt idx="6">
                  <c:v>1.4726532412161027E-6</c:v>
                </c:pt>
                <c:pt idx="7">
                  <c:v>6.4171820023489701E-2</c:v>
                </c:pt>
                <c:pt idx="8">
                  <c:v>6.276456862498126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09750398471171E-2</c:v>
                </c:pt>
                <c:pt idx="1">
                  <c:v>2.2345770538797674E-2</c:v>
                </c:pt>
                <c:pt idx="2">
                  <c:v>2.2673027624663761E-5</c:v>
                </c:pt>
                <c:pt idx="3">
                  <c:v>3.8211269006512912E-3</c:v>
                </c:pt>
                <c:pt idx="4">
                  <c:v>0.11408516349319735</c:v>
                </c:pt>
                <c:pt idx="5">
                  <c:v>1.9640236791268222E-5</c:v>
                </c:pt>
                <c:pt idx="6">
                  <c:v>2.5733055252659218E-2</c:v>
                </c:pt>
                <c:pt idx="7">
                  <c:v>7.3872398343894988E-2</c:v>
                </c:pt>
                <c:pt idx="8">
                  <c:v>3.6807582595306237E-3</c:v>
                </c:pt>
                <c:pt idx="10">
                  <c:v>3.470358395463808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2.5516269030972075E-7</c:v>
                </c:pt>
                <c:pt idx="3">
                  <c:v>7.015941668175954E-2</c:v>
                </c:pt>
                <c:pt idx="4">
                  <c:v>3.9081359199743898E-2</c:v>
                </c:pt>
                <c:pt idx="5">
                  <c:v>4.124769773083601E-2</c:v>
                </c:pt>
                <c:pt idx="6">
                  <c:v>2.2447565871506092E-2</c:v>
                </c:pt>
                <c:pt idx="7">
                  <c:v>7.0072880077931637E-2</c:v>
                </c:pt>
                <c:pt idx="8">
                  <c:v>1.7753607601293627E-2</c:v>
                </c:pt>
                <c:pt idx="9">
                  <c:v>1.3094949266694871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4488502073914959E-3</c:v>
                </c:pt>
                <c:pt idx="5">
                  <c:v>8.9437949423969865E-3</c:v>
                </c:pt>
                <c:pt idx="6">
                  <c:v>5.4633029429465921E-3</c:v>
                </c:pt>
                <c:pt idx="7">
                  <c:v>5.6927277372029003E-2</c:v>
                </c:pt>
                <c:pt idx="8">
                  <c:v>4.2365689413246761E-2</c:v>
                </c:pt>
                <c:pt idx="9">
                  <c:v>4.2318673864966551E-2</c:v>
                </c:pt>
                <c:pt idx="10">
                  <c:v>3.529876915569195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6658320513777511E-6</c:v>
                </c:pt>
                <c:pt idx="4">
                  <c:v>8.9234037982599497E-6</c:v>
                </c:pt>
                <c:pt idx="5">
                  <c:v>4.4368986275593533E-2</c:v>
                </c:pt>
                <c:pt idx="6">
                  <c:v>1.4733924839817428E-2</c:v>
                </c:pt>
                <c:pt idx="7">
                  <c:v>1.1988862746377713E-2</c:v>
                </c:pt>
                <c:pt idx="8">
                  <c:v>3.8735453366397464E-2</c:v>
                </c:pt>
                <c:pt idx="9">
                  <c:v>2.4451876094251526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216</c:v>
                </c:pt>
                <c:pt idx="3">
                  <c:v>0.13950000000000001</c:v>
                </c:pt>
                <c:pt idx="4">
                  <c:v>7.4099999999999999E-2</c:v>
                </c:pt>
                <c:pt idx="5">
                  <c:v>9.11E-2</c:v>
                </c:pt>
                <c:pt idx="6">
                  <c:v>7.6200000000000004E-2</c:v>
                </c:pt>
                <c:pt idx="7">
                  <c:v>0.22750000000000001</c:v>
                </c:pt>
                <c:pt idx="8">
                  <c:v>0.27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198E-2</c:v>
                </c:pt>
                <c:pt idx="6">
                  <c:v>9.5739273110062556E-2</c:v>
                </c:pt>
                <c:pt idx="7">
                  <c:v>0.19579893844579263</c:v>
                </c:pt>
                <c:pt idx="8">
                  <c:v>0.18662621492811068</c:v>
                </c:pt>
                <c:pt idx="9">
                  <c:v>2.0947871253378533E-2</c:v>
                </c:pt>
                <c:pt idx="10">
                  <c:v>1.132557983074297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434962778531443E-6</c:v>
                </c:pt>
                <c:pt idx="1">
                  <c:v>2.2329531702993578E-6</c:v>
                </c:pt>
                <c:pt idx="2">
                  <c:v>2.7770080751443327E-2</c:v>
                </c:pt>
                <c:pt idx="3">
                  <c:v>3.1861967436016901E-2</c:v>
                </c:pt>
                <c:pt idx="4">
                  <c:v>1.691900346938896E-2</c:v>
                </c:pt>
                <c:pt idx="5">
                  <c:v>2.0802357138447355E-2</c:v>
                </c:pt>
                <c:pt idx="6">
                  <c:v>1.7400080824634567E-2</c:v>
                </c:pt>
                <c:pt idx="7">
                  <c:v>5.1980627394506297E-2</c:v>
                </c:pt>
                <c:pt idx="8">
                  <c:v>6.171832941525862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6797620962071183E-2</c:v>
                </c:pt>
                <c:pt idx="1">
                  <c:v>4.5384731835349808E-2</c:v>
                </c:pt>
                <c:pt idx="2">
                  <c:v>6.2928341927653061E-3</c:v>
                </c:pt>
                <c:pt idx="3">
                  <c:v>8.6582345668511241E-3</c:v>
                </c:pt>
                <c:pt idx="4">
                  <c:v>7.5227530691631198E-2</c:v>
                </c:pt>
                <c:pt idx="5">
                  <c:v>5.5666695515870282E-4</c:v>
                </c:pt>
                <c:pt idx="6">
                  <c:v>9.3927521069257069E-3</c:v>
                </c:pt>
                <c:pt idx="7">
                  <c:v>4.3276493234710132E-2</c:v>
                </c:pt>
                <c:pt idx="8">
                  <c:v>4.9627715017780301E-2</c:v>
                </c:pt>
                <c:pt idx="10">
                  <c:v>5.740343687054756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9131908028297804E-6</c:v>
                </c:pt>
                <c:pt idx="1">
                  <c:v>2.0055227548059046E-5</c:v>
                </c:pt>
                <c:pt idx="2">
                  <c:v>3.1137291430285486E-5</c:v>
                </c:pt>
                <c:pt idx="3">
                  <c:v>6.7302200976453883E-2</c:v>
                </c:pt>
                <c:pt idx="4">
                  <c:v>7.3258272750350337E-2</c:v>
                </c:pt>
                <c:pt idx="5">
                  <c:v>3.46323593536196E-2</c:v>
                </c:pt>
                <c:pt idx="6">
                  <c:v>3.1598520312906206E-2</c:v>
                </c:pt>
                <c:pt idx="7">
                  <c:v>4.0062529304925924E-2</c:v>
                </c:pt>
                <c:pt idx="8">
                  <c:v>1.7947940020065979E-2</c:v>
                </c:pt>
                <c:pt idx="9">
                  <c:v>1.3892483552955994E-2</c:v>
                </c:pt>
                <c:pt idx="10">
                  <c:v>1.2405295390551985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8649087315539978E-2</c:v>
                </c:pt>
                <c:pt idx="6">
                  <c:v>8.1119053578512148E-3</c:v>
                </c:pt>
                <c:pt idx="7">
                  <c:v>2.9251355723044502E-2</c:v>
                </c:pt>
                <c:pt idx="8">
                  <c:v>2.9765183058121165E-2</c:v>
                </c:pt>
                <c:pt idx="9">
                  <c:v>7.0543952767912928E-3</c:v>
                </c:pt>
                <c:pt idx="10">
                  <c:v>1.075142140908359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3">
                  <c:v>2.9644520884955728E-4</c:v>
                </c:pt>
                <c:pt idx="4">
                  <c:v>1.9848472624883176E-6</c:v>
                </c:pt>
                <c:pt idx="5">
                  <c:v>2.5089461821483583E-2</c:v>
                </c:pt>
                <c:pt idx="6">
                  <c:v>2.9236014507744851E-2</c:v>
                </c:pt>
                <c:pt idx="7">
                  <c:v>3.1227932788605785E-2</c:v>
                </c:pt>
                <c:pt idx="8">
                  <c:v>2.7567047416884625E-2</c:v>
                </c:pt>
                <c:pt idx="9">
                  <c:v>9.9242363124415881E-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0.1152</c:v>
                </c:pt>
                <c:pt idx="3">
                  <c:v>0.1321</c:v>
                </c:pt>
                <c:pt idx="4">
                  <c:v>7.0199999999999999E-2</c:v>
                </c:pt>
                <c:pt idx="5">
                  <c:v>8.6300000000000002E-2</c:v>
                </c:pt>
                <c:pt idx="6">
                  <c:v>9.5299999999999996E-2</c:v>
                </c:pt>
                <c:pt idx="7">
                  <c:v>0.22919999999999999</c:v>
                </c:pt>
                <c:pt idx="8">
                  <c:v>0.271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0.1661</c:v>
                </c:pt>
                <c:pt idx="2">
                  <c:v>3.4200000000000001E-2</c:v>
                </c:pt>
                <c:pt idx="4">
                  <c:v>3.2000000000000002E-3</c:v>
                </c:pt>
                <c:pt idx="5">
                  <c:v>0.22309999999999999</c:v>
                </c:pt>
                <c:pt idx="6">
                  <c:v>3.27E-2</c:v>
                </c:pt>
                <c:pt idx="7">
                  <c:v>0.2772</c:v>
                </c:pt>
                <c:pt idx="8">
                  <c:v>0.2635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1">
                  <c:v>3.8897799983816629E-2</c:v>
                </c:pt>
                <c:pt idx="2">
                  <c:v>8.0035460012229716E-3</c:v>
                </c:pt>
                <c:pt idx="4">
                  <c:v>7.4648344636084199E-4</c:v>
                </c:pt>
                <c:pt idx="5">
                  <c:v>5.2241447653462884E-2</c:v>
                </c:pt>
                <c:pt idx="6">
                  <c:v>7.6509944064954713E-3</c:v>
                </c:pt>
                <c:pt idx="7">
                  <c:v>6.4911846737361348E-2</c:v>
                </c:pt>
                <c:pt idx="8">
                  <c:v>6.1714556119924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8.8598817385034079E-6</c:v>
                </c:pt>
                <c:pt idx="3">
                  <c:v>0.14632611944349699</c:v>
                </c:pt>
                <c:pt idx="4">
                  <c:v>1.0608453658721453E-2</c:v>
                </c:pt>
                <c:pt idx="5">
                  <c:v>1.7975829423206335E-5</c:v>
                </c:pt>
                <c:pt idx="6">
                  <c:v>6.4528618442279151E-6</c:v>
                </c:pt>
                <c:pt idx="7">
                  <c:v>2.055856176976394E-2</c:v>
                </c:pt>
                <c:pt idx="8">
                  <c:v>6.34367532476843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9.6249555725583351E-3</c:v>
                </c:pt>
                <c:pt idx="3">
                  <c:v>7.8447697506224962E-2</c:v>
                </c:pt>
                <c:pt idx="4">
                  <c:v>8.9890567657232176E-2</c:v>
                </c:pt>
                <c:pt idx="5">
                  <c:v>1.1853292649575801E-3</c:v>
                </c:pt>
                <c:pt idx="6">
                  <c:v>9.9112373004093986E-3</c:v>
                </c:pt>
                <c:pt idx="7">
                  <c:v>9.702676708548813E-2</c:v>
                </c:pt>
                <c:pt idx="8">
                  <c:v>3.7082958196722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4851824879572185E-6</c:v>
                </c:pt>
                <c:pt idx="6">
                  <c:v>1.3315429202375063E-6</c:v>
                </c:pt>
                <c:pt idx="7">
                  <c:v>4.3669281612109256E-2</c:v>
                </c:pt>
                <c:pt idx="8">
                  <c:v>1.3213002823895256E-5</c:v>
                </c:pt>
                <c:pt idx="9">
                  <c:v>8.21454434089137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4">
                  <c:v>9.5884917818195217E-3</c:v>
                </c:pt>
                <c:pt idx="5">
                  <c:v>5.6348233298610793E-2</c:v>
                </c:pt>
                <c:pt idx="6">
                  <c:v>4.6860068154512241E-5</c:v>
                </c:pt>
                <c:pt idx="7">
                  <c:v>3.1574467562078068E-3</c:v>
                </c:pt>
                <c:pt idx="8">
                  <c:v>3.96594425341924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32029999999999997</c:v>
                </c:pt>
                <c:pt idx="7">
                  <c:v>1.4999999999999999E-2</c:v>
                </c:pt>
                <c:pt idx="8">
                  <c:v>0.6646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445260241806E-2</c:v>
                </c:pt>
                <c:pt idx="2">
                  <c:v>7.6663425080420455E-3</c:v>
                </c:pt>
                <c:pt idx="3">
                  <c:v>5.7978765788628567E-2</c:v>
                </c:pt>
                <c:pt idx="4">
                  <c:v>2.3980990241791268E-2</c:v>
                </c:pt>
                <c:pt idx="5">
                  <c:v>2.1307474066270562E-2</c:v>
                </c:pt>
                <c:pt idx="6">
                  <c:v>0.18064157338881034</c:v>
                </c:pt>
                <c:pt idx="7">
                  <c:v>0.14442246881480475</c:v>
                </c:pt>
                <c:pt idx="8">
                  <c:v>0.30330573706980096</c:v>
                </c:pt>
                <c:pt idx="9">
                  <c:v>0.14396439387256088</c:v>
                </c:pt>
                <c:pt idx="10">
                  <c:v>0.1040218862058693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2.3065561311657662E-3</c:v>
                </c:pt>
                <c:pt idx="7">
                  <c:v>1.0804015962936446E-4</c:v>
                </c:pt>
                <c:pt idx="8">
                  <c:v>4.785952485926713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1.1275926362546224E-2</c:v>
                </c:pt>
                <c:pt idx="2">
                  <c:v>4.8657953197085244E-3</c:v>
                </c:pt>
                <c:pt idx="3">
                  <c:v>4.2149154401220919E-2</c:v>
                </c:pt>
                <c:pt idx="4">
                  <c:v>2.2483264789837858E-2</c:v>
                </c:pt>
                <c:pt idx="6">
                  <c:v>9.4448161682550907E-2</c:v>
                </c:pt>
                <c:pt idx="7">
                  <c:v>1.973482085823482E-2</c:v>
                </c:pt>
                <c:pt idx="8">
                  <c:v>0.101159222505887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6">
                  <c:v>5.3197161916266004E-3</c:v>
                </c:pt>
                <c:pt idx="7">
                  <c:v>6.4896763399019636E-4</c:v>
                </c:pt>
                <c:pt idx="8">
                  <c:v>2.0839242822610453E-2</c:v>
                </c:pt>
                <c:pt idx="9">
                  <c:v>6.557852873425947E-2</c:v>
                </c:pt>
                <c:pt idx="10">
                  <c:v>9.99573172134958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1.0286759823200477E-3</c:v>
                </c:pt>
                <c:pt idx="6">
                  <c:v>4.0806703062807497E-3</c:v>
                </c:pt>
                <c:pt idx="7">
                  <c:v>4.8291170530388838E-2</c:v>
                </c:pt>
                <c:pt idx="8">
                  <c:v>4.2742425450430249E-2</c:v>
                </c:pt>
                <c:pt idx="9">
                  <c:v>1.0375477261769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1.2985188976955815E-3</c:v>
                </c:pt>
                <c:pt idx="2">
                  <c:v>2.8005471883335211E-3</c:v>
                </c:pt>
                <c:pt idx="3">
                  <c:v>1.5829611387407648E-2</c:v>
                </c:pt>
                <c:pt idx="4">
                  <c:v>1.4977254519534103E-3</c:v>
                </c:pt>
                <c:pt idx="5">
                  <c:v>2.0278798083950514E-2</c:v>
                </c:pt>
                <c:pt idx="6">
                  <c:v>7.4486469077186326E-2</c:v>
                </c:pt>
                <c:pt idx="7">
                  <c:v>7.563946963256149E-2</c:v>
                </c:pt>
                <c:pt idx="8">
                  <c:v>0.13377889380494568</c:v>
                </c:pt>
                <c:pt idx="9">
                  <c:v>6.8010387876532283E-2</c:v>
                </c:pt>
                <c:pt idx="10">
                  <c:v>4.064568992373481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0.44019999999999998</c:v>
                </c:pt>
                <c:pt idx="7">
                  <c:v>0.2596</c:v>
                </c:pt>
                <c:pt idx="8">
                  <c:v>0.3002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52E-2</c:v>
                </c:pt>
                <c:pt idx="2">
                  <c:v>4.4503254509310457E-3</c:v>
                </c:pt>
                <c:pt idx="3">
                  <c:v>6.4716249229014158E-2</c:v>
                </c:pt>
                <c:pt idx="4">
                  <c:v>2.4844439046991046E-2</c:v>
                </c:pt>
                <c:pt idx="5">
                  <c:v>6.5073631970893664E-2</c:v>
                </c:pt>
                <c:pt idx="6">
                  <c:v>0.12226394010157356</c:v>
                </c:pt>
                <c:pt idx="7">
                  <c:v>0.24437305930213674</c:v>
                </c:pt>
                <c:pt idx="8">
                  <c:v>0.24572902336939234</c:v>
                </c:pt>
                <c:pt idx="9">
                  <c:v>0.15850126894474115</c:v>
                </c:pt>
                <c:pt idx="10">
                  <c:v>4.243778455336496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4.5544047456652003E-3</c:v>
                </c:pt>
                <c:pt idx="7">
                  <c:v>2.6853604363414013E-3</c:v>
                </c:pt>
                <c:pt idx="8">
                  <c:v>3.10633033399305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2.0651530316272263E-2</c:v>
                </c:pt>
                <c:pt idx="2">
                  <c:v>1.5243385401751135E-3</c:v>
                </c:pt>
                <c:pt idx="3">
                  <c:v>4.4125305402096381E-2</c:v>
                </c:pt>
                <c:pt idx="4">
                  <c:v>2.1155372551616352E-2</c:v>
                </c:pt>
                <c:pt idx="5">
                  <c:v>2.8571873614088271E-2</c:v>
                </c:pt>
                <c:pt idx="6">
                  <c:v>5.0025323601643933E-2</c:v>
                </c:pt>
                <c:pt idx="7">
                  <c:v>7.3200178367703553E-2</c:v>
                </c:pt>
                <c:pt idx="8">
                  <c:v>5.783201244447165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7">
                  <c:v>8.6061472933415747E-3</c:v>
                </c:pt>
                <c:pt idx="8">
                  <c:v>1.6702687025974779E-2</c:v>
                </c:pt>
                <c:pt idx="9">
                  <c:v>6.726550078526429E-2</c:v>
                </c:pt>
                <c:pt idx="10">
                  <c:v>3.709366509420507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rre Fra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3829958909750677E-7</c:v>
                </c:pt>
                <c:pt idx="6">
                  <c:v>3.6097005543950355E-3</c:v>
                </c:pt>
                <c:pt idx="7">
                  <c:v>4.4859726936658767E-2</c:v>
                </c:pt>
                <c:pt idx="8">
                  <c:v>2.57723529924634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6.8540278282477884E-3</c:v>
                </c:pt>
                <c:pt idx="2">
                  <c:v>2.9259869107559327E-3</c:v>
                </c:pt>
                <c:pt idx="3">
                  <c:v>2.0590943826917785E-2</c:v>
                </c:pt>
                <c:pt idx="4">
                  <c:v>3.6890664953746922E-3</c:v>
                </c:pt>
                <c:pt idx="5">
                  <c:v>3.6501320057216305E-2</c:v>
                </c:pt>
                <c:pt idx="6">
                  <c:v>6.4074511199869399E-2</c:v>
                </c:pt>
                <c:pt idx="7">
                  <c:v>0.1150216462680914</c:v>
                </c:pt>
                <c:pt idx="8">
                  <c:v>0.14231564057248938</c:v>
                </c:pt>
                <c:pt idx="9">
                  <c:v>9.1235768159476857E-2</c:v>
                </c:pt>
                <c:pt idx="10">
                  <c:v>5.344119459159885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3.5999999999999999E-3</c:v>
                </c:pt>
                <c:pt idx="7">
                  <c:v>9.4600000000000004E-2</c:v>
                </c:pt>
                <c:pt idx="8">
                  <c:v>0.9018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84E-2</c:v>
                </c:pt>
                <c:pt idx="1">
                  <c:v>2.5712148835382802E-2</c:v>
                </c:pt>
                <c:pt idx="2">
                  <c:v>3.3589224880169175E-2</c:v>
                </c:pt>
                <c:pt idx="3">
                  <c:v>4.7555465818613675E-2</c:v>
                </c:pt>
                <c:pt idx="4">
                  <c:v>7.2169314610381535E-2</c:v>
                </c:pt>
                <c:pt idx="5">
                  <c:v>0.11538975237199361</c:v>
                </c:pt>
                <c:pt idx="6">
                  <c:v>0.13910064653920556</c:v>
                </c:pt>
                <c:pt idx="7">
                  <c:v>0.18415888055193388</c:v>
                </c:pt>
                <c:pt idx="8">
                  <c:v>0.19567579739573701</c:v>
                </c:pt>
                <c:pt idx="9">
                  <c:v>0.13733259935179568</c:v>
                </c:pt>
                <c:pt idx="10">
                  <c:v>2.53689024590849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36752523768597E-3</c:v>
                </c:pt>
                <c:pt idx="2">
                  <c:v>4.2520320660761161E-3</c:v>
                </c:pt>
                <c:pt idx="3">
                  <c:v>8.4944165828123794E-2</c:v>
                </c:pt>
                <c:pt idx="4">
                  <c:v>2.7677276536064312E-2</c:v>
                </c:pt>
                <c:pt idx="5">
                  <c:v>0.10953939421161026</c:v>
                </c:pt>
                <c:pt idx="6">
                  <c:v>0.12398962027820842</c:v>
                </c:pt>
                <c:pt idx="7">
                  <c:v>0.12106155214187639</c:v>
                </c:pt>
                <c:pt idx="8">
                  <c:v>0.3262023710047276</c:v>
                </c:pt>
                <c:pt idx="9">
                  <c:v>0.10121561452946574</c:v>
                </c:pt>
                <c:pt idx="10">
                  <c:v>9.50555590826723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6">
                  <c:v>2.4167441358791468E-5</c:v>
                </c:pt>
                <c:pt idx="7">
                  <c:v>6.4008750634201065E-4</c:v>
                </c:pt>
                <c:pt idx="8">
                  <c:v>6.100530494765029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1">
                  <c:v>5.9393624131633136E-3</c:v>
                </c:pt>
                <c:pt idx="2">
                  <c:v>3.4217133814501135E-3</c:v>
                </c:pt>
                <c:pt idx="3">
                  <c:v>7.5558495193670958E-2</c:v>
                </c:pt>
                <c:pt idx="4">
                  <c:v>2.5939862857929714E-2</c:v>
                </c:pt>
                <c:pt idx="5">
                  <c:v>7.0621965033675502E-2</c:v>
                </c:pt>
                <c:pt idx="6">
                  <c:v>2.4278526109345784E-2</c:v>
                </c:pt>
                <c:pt idx="7">
                  <c:v>2.7375105810264758E-2</c:v>
                </c:pt>
                <c:pt idx="8">
                  <c:v>0.101702848797374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8">
                  <c:v>1.9978081451737427E-2</c:v>
                </c:pt>
                <c:pt idx="9">
                  <c:v>3.3012064371184549E-2</c:v>
                </c:pt>
                <c:pt idx="10">
                  <c:v>8.99118960772046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3.7972412282872832E-4</c:v>
                </c:pt>
                <c:pt idx="5">
                  <c:v>2.9629555086729643E-2</c:v>
                </c:pt>
                <c:pt idx="6">
                  <c:v>4.0721750145490329E-3</c:v>
                </c:pt>
                <c:pt idx="7">
                  <c:v>2.1327844707948126E-2</c:v>
                </c:pt>
                <c:pt idx="8">
                  <c:v>6.9933581499023234E-2</c:v>
                </c:pt>
                <c:pt idx="9">
                  <c:v>9.431985087989302E-3</c:v>
                </c:pt>
                <c:pt idx="10">
                  <c:v>4.0408583622416603E-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1">
                  <c:v>4.3128392135463874E-6</c:v>
                </c:pt>
                <c:pt idx="2">
                  <c:v>8.3031868462600262E-4</c:v>
                </c:pt>
                <c:pt idx="3">
                  <c:v>9.3856706344528397E-3</c:v>
                </c:pt>
                <c:pt idx="4">
                  <c:v>1.3576895553058684E-3</c:v>
                </c:pt>
                <c:pt idx="5">
                  <c:v>9.2878740912051248E-3</c:v>
                </c:pt>
                <c:pt idx="6">
                  <c:v>9.5614751712954832E-2</c:v>
                </c:pt>
                <c:pt idx="7">
                  <c:v>7.1718514117321511E-2</c:v>
                </c:pt>
                <c:pt idx="8">
                  <c:v>0.12848732876182739</c:v>
                </c:pt>
                <c:pt idx="9">
                  <c:v>5.8771565070291895E-2</c:v>
                </c:pt>
                <c:pt idx="10">
                  <c:v>5.139622147105428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440326896023386E-3</c:v>
                </c:pt>
                <c:pt idx="1">
                  <c:v>1.6414059402893172E-2</c:v>
                </c:pt>
                <c:pt idx="2">
                  <c:v>1.8161040186737358E-2</c:v>
                </c:pt>
                <c:pt idx="3">
                  <c:v>4.1076518711765493E-2</c:v>
                </c:pt>
                <c:pt idx="4">
                  <c:v>7.1941890867163433E-2</c:v>
                </c:pt>
                <c:pt idx="5">
                  <c:v>9.2447332939716881E-2</c:v>
                </c:pt>
                <c:pt idx="6">
                  <c:v>0.10831682527395142</c:v>
                </c:pt>
                <c:pt idx="7">
                  <c:v>0.18902377510261559</c:v>
                </c:pt>
                <c:pt idx="8">
                  <c:v>0.19576873044059104</c:v>
                </c:pt>
                <c:pt idx="9">
                  <c:v>4.9546663979823755E-2</c:v>
                </c:pt>
                <c:pt idx="10">
                  <c:v>0.2111591304051395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6.6405484166825383E-4</c:v>
                </c:pt>
                <c:pt idx="1">
                  <c:v>6.790208995048167E-3</c:v>
                </c:pt>
                <c:pt idx="2">
                  <c:v>1.4241990441861871E-4</c:v>
                </c:pt>
                <c:pt idx="3">
                  <c:v>1.3291292839119345E-2</c:v>
                </c:pt>
                <c:pt idx="4">
                  <c:v>5.2403168692109203E-2</c:v>
                </c:pt>
                <c:pt idx="5">
                  <c:v>2.0836488083426047E-3</c:v>
                </c:pt>
                <c:pt idx="6">
                  <c:v>3.6513051205990646E-2</c:v>
                </c:pt>
                <c:pt idx="7">
                  <c:v>8.9712340991130943E-2</c:v>
                </c:pt>
                <c:pt idx="8">
                  <c:v>0.14536600164662383</c:v>
                </c:pt>
                <c:pt idx="9">
                  <c:v>4.3141134383930919E-2</c:v>
                </c:pt>
                <c:pt idx="10">
                  <c:v>0.1750121406740338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6605486613245063E-5</c:v>
                </c:pt>
                <c:pt idx="1">
                  <c:v>2.5938176798877442E-3</c:v>
                </c:pt>
                <c:pt idx="3">
                  <c:v>2.5128979861358792E-3</c:v>
                </c:pt>
                <c:pt idx="4">
                  <c:v>9.7186763698980418E-3</c:v>
                </c:pt>
                <c:pt idx="5">
                  <c:v>4.3533327564330253E-2</c:v>
                </c:pt>
                <c:pt idx="6">
                  <c:v>1.3964839824646375E-2</c:v>
                </c:pt>
                <c:pt idx="7">
                  <c:v>1.4901842095617924E-2</c:v>
                </c:pt>
                <c:pt idx="8">
                  <c:v>1.5256675085942925E-2</c:v>
                </c:pt>
                <c:pt idx="9">
                  <c:v>2.6461277189915801E-3</c:v>
                </c:pt>
                <c:pt idx="10">
                  <c:v>2.446929473644236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211287943793168E-6</c:v>
                </c:pt>
                <c:pt idx="5">
                  <c:v>2.3018579860218401E-2</c:v>
                </c:pt>
                <c:pt idx="6">
                  <c:v>1.1311895525152703E-2</c:v>
                </c:pt>
                <c:pt idx="7">
                  <c:v>3.58570297155460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4020512325264596E-3</c:v>
                </c:pt>
                <c:pt idx="1">
                  <c:v>7.030032727957259E-3</c:v>
                </c:pt>
                <c:pt idx="2">
                  <c:v>1.801862028231874E-2</c:v>
                </c:pt>
                <c:pt idx="3">
                  <c:v>2.5272327886510269E-2</c:v>
                </c:pt>
                <c:pt idx="4">
                  <c:v>9.8200458051561825E-3</c:v>
                </c:pt>
                <c:pt idx="5">
                  <c:v>2.3811776706825629E-2</c:v>
                </c:pt>
                <c:pt idx="6">
                  <c:v>4.652703871816171E-2</c:v>
                </c:pt>
                <c:pt idx="7">
                  <c:v>4.8552562300320679E-2</c:v>
                </c:pt>
                <c:pt idx="8">
                  <c:v>3.5146053708024289E-2</c:v>
                </c:pt>
                <c:pt idx="9">
                  <c:v>3.7594018769012555E-3</c:v>
                </c:pt>
                <c:pt idx="10">
                  <c:v>1.167769499466331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605E-2</c:v>
                </c:pt>
                <c:pt idx="5">
                  <c:v>0.1236600148751794</c:v>
                </c:pt>
                <c:pt idx="6">
                  <c:v>0.14971069932300879</c:v>
                </c:pt>
                <c:pt idx="7">
                  <c:v>0.1647679430192327</c:v>
                </c:pt>
                <c:pt idx="8">
                  <c:v>0.16299902679493175</c:v>
                </c:pt>
                <c:pt idx="9">
                  <c:v>0.19665703144981761</c:v>
                </c:pt>
                <c:pt idx="10">
                  <c:v>4.64278119925380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340458942784401E-3</c:v>
                </c:pt>
                <c:pt idx="1">
                  <c:v>3.8566578448540174E-6</c:v>
                </c:pt>
                <c:pt idx="2">
                  <c:v>2.1473495231655787E-2</c:v>
                </c:pt>
                <c:pt idx="3">
                  <c:v>7.7027599671002046E-3</c:v>
                </c:pt>
                <c:pt idx="4">
                  <c:v>1.1532596509669556E-2</c:v>
                </c:pt>
                <c:pt idx="5">
                  <c:v>5.1033938664164412E-2</c:v>
                </c:pt>
                <c:pt idx="6">
                  <c:v>5.6864616809613855E-2</c:v>
                </c:pt>
                <c:pt idx="7">
                  <c:v>6.9391204270712645E-2</c:v>
                </c:pt>
                <c:pt idx="8">
                  <c:v>0.11028911986485068</c:v>
                </c:pt>
                <c:pt idx="9">
                  <c:v>0.17365204236203063</c:v>
                </c:pt>
                <c:pt idx="10">
                  <c:v>2.015579545358641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alak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867160776327196E-6</c:v>
                </c:pt>
                <c:pt idx="3">
                  <c:v>1.9408505388064049E-6</c:v>
                </c:pt>
                <c:pt idx="4">
                  <c:v>3.1405966905818689E-3</c:v>
                </c:pt>
                <c:pt idx="5">
                  <c:v>1.7672683795853877E-2</c:v>
                </c:pt>
                <c:pt idx="6">
                  <c:v>2.127501509042598E-2</c:v>
                </c:pt>
                <c:pt idx="7">
                  <c:v>3.28127705060438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6766958469579996E-3</c:v>
                </c:pt>
                <c:pt idx="1">
                  <c:v>3.4308227150235131E-3</c:v>
                </c:pt>
                <c:pt idx="2">
                  <c:v>1.3627087281451152E-2</c:v>
                </c:pt>
                <c:pt idx="3">
                  <c:v>7.9725131487615359E-4</c:v>
                </c:pt>
                <c:pt idx="4">
                  <c:v>1.680726480140829E-3</c:v>
                </c:pt>
                <c:pt idx="5">
                  <c:v>1.0681978065784416E-2</c:v>
                </c:pt>
                <c:pt idx="6">
                  <c:v>2.8043387000062883E-2</c:v>
                </c:pt>
                <c:pt idx="7">
                  <c:v>5.3127966136139971E-3</c:v>
                </c:pt>
                <c:pt idx="8">
                  <c:v>1.476432552426067E-2</c:v>
                </c:pt>
                <c:pt idx="9">
                  <c:v>2.6973690356003827E-3</c:v>
                </c:pt>
                <c:pt idx="10">
                  <c:v>1.02515600243590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9.2315992405589582E-3</c:v>
                </c:pt>
                <c:pt idx="1">
                  <c:v>1.4580858801069756E-2</c:v>
                </c:pt>
                <c:pt idx="2">
                  <c:v>1.3820646427443857E-2</c:v>
                </c:pt>
                <c:pt idx="3">
                  <c:v>3.1703179992200035E-2</c:v>
                </c:pt>
                <c:pt idx="4">
                  <c:v>1.8732525927822347E-2</c:v>
                </c:pt>
                <c:pt idx="5">
                  <c:v>4.4271414349376689E-2</c:v>
                </c:pt>
                <c:pt idx="6">
                  <c:v>4.352768042290607E-2</c:v>
                </c:pt>
                <c:pt idx="7">
                  <c:v>5.7251171628862195E-2</c:v>
                </c:pt>
                <c:pt idx="8">
                  <c:v>3.7945581405820404E-2</c:v>
                </c:pt>
                <c:pt idx="9">
                  <c:v>2.030762005218659E-2</c:v>
                </c:pt>
                <c:pt idx="10">
                  <c:v>1.602045651459255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6872184253652326E-3</c:v>
                </c:pt>
                <c:pt idx="1">
                  <c:v>6.4377750810823645E-3</c:v>
                </c:pt>
                <c:pt idx="2">
                  <c:v>2.3401097734032036E-2</c:v>
                </c:pt>
                <c:pt idx="3">
                  <c:v>9.0467878237250693E-2</c:v>
                </c:pt>
                <c:pt idx="4">
                  <c:v>2.6029595140876296E-2</c:v>
                </c:pt>
                <c:pt idx="5">
                  <c:v>0.11858627354648472</c:v>
                </c:pt>
                <c:pt idx="6">
                  <c:v>0.12647657415686711</c:v>
                </c:pt>
                <c:pt idx="7">
                  <c:v>0.19717935221122621</c:v>
                </c:pt>
                <c:pt idx="8">
                  <c:v>0.14705443469514709</c:v>
                </c:pt>
                <c:pt idx="9">
                  <c:v>0.12556180470126249</c:v>
                </c:pt>
                <c:pt idx="10">
                  <c:v>0.134117996070405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159928628019147E-7</c:v>
                </c:pt>
                <c:pt idx="1">
                  <c:v>2.3162471189639019E-7</c:v>
                </c:pt>
                <c:pt idx="2">
                  <c:v>2.8805964401529397E-3</c:v>
                </c:pt>
                <c:pt idx="3">
                  <c:v>3.305048724703075E-3</c:v>
                </c:pt>
                <c:pt idx="4">
                  <c:v>1.7550118633459153E-3</c:v>
                </c:pt>
                <c:pt idx="5">
                  <c:v>2.1578329734128375E-3</c:v>
                </c:pt>
                <c:pt idx="6">
                  <c:v>2.3843362055684073E-3</c:v>
                </c:pt>
                <c:pt idx="7">
                  <c:v>5.7335995141645935E-3</c:v>
                </c:pt>
                <c:pt idx="8">
                  <c:v>6.797250216618432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4375916424244955E-3</c:v>
                </c:pt>
                <c:pt idx="1">
                  <c:v>1.5459962969385226E-3</c:v>
                </c:pt>
                <c:pt idx="2">
                  <c:v>9.0189987424751251E-3</c:v>
                </c:pt>
                <c:pt idx="3">
                  <c:v>2.8217122911730575E-3</c:v>
                </c:pt>
                <c:pt idx="4">
                  <c:v>1.0145338244269071E-2</c:v>
                </c:pt>
                <c:pt idx="5">
                  <c:v>3.2002445476550817E-2</c:v>
                </c:pt>
                <c:pt idx="6">
                  <c:v>3.5358824811018041E-2</c:v>
                </c:pt>
                <c:pt idx="7">
                  <c:v>5.0030530281701201E-2</c:v>
                </c:pt>
                <c:pt idx="8">
                  <c:v>7.5155446132228909E-2</c:v>
                </c:pt>
                <c:pt idx="9">
                  <c:v>0.10334522445991616</c:v>
                </c:pt>
                <c:pt idx="10">
                  <c:v>1.5435157678479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1548435047794E-7</c:v>
                </c:pt>
                <c:pt idx="2">
                  <c:v>2.1067640137861997E-3</c:v>
                </c:pt>
                <c:pt idx="3">
                  <c:v>6.2980474903235128E-5</c:v>
                </c:pt>
                <c:pt idx="4">
                  <c:v>4.4969980708149324E-3</c:v>
                </c:pt>
                <c:pt idx="5">
                  <c:v>1.7708035214814292E-2</c:v>
                </c:pt>
                <c:pt idx="6">
                  <c:v>6.141443449002454E-3</c:v>
                </c:pt>
                <c:pt idx="7">
                  <c:v>4.1019535459826057E-3</c:v>
                </c:pt>
                <c:pt idx="8">
                  <c:v>1.0982056779915682E-3</c:v>
                </c:pt>
                <c:pt idx="10">
                  <c:v>6.5841469029807213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1446732582999091E-7</c:v>
                </c:pt>
                <c:pt idx="1">
                  <c:v>1.8337814227767542E-4</c:v>
                </c:pt>
                <c:pt idx="2">
                  <c:v>1.5481924423550219E-3</c:v>
                </c:pt>
                <c:pt idx="3">
                  <c:v>6.3462039836653791E-3</c:v>
                </c:pt>
                <c:pt idx="4">
                  <c:v>1.3772328161122062E-2</c:v>
                </c:pt>
                <c:pt idx="5">
                  <c:v>5.3123556608088748E-5</c:v>
                </c:pt>
                <c:pt idx="6">
                  <c:v>1.296883919293955E-4</c:v>
                </c:pt>
                <c:pt idx="7">
                  <c:v>1.5682408479736093E-3</c:v>
                </c:pt>
                <c:pt idx="8">
                  <c:v>2.426097283254023E-3</c:v>
                </c:pt>
                <c:pt idx="9">
                  <c:v>1.94028589678392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09117928230533E-2</c:v>
                </c:pt>
                <c:pt idx="1">
                  <c:v>2.3982542771454705E-2</c:v>
                </c:pt>
                <c:pt idx="2">
                  <c:v>1.8034673241399884E-2</c:v>
                </c:pt>
                <c:pt idx="3">
                  <c:v>3.5019520344168928E-2</c:v>
                </c:pt>
                <c:pt idx="4">
                  <c:v>4.1999638270829559E-2</c:v>
                </c:pt>
                <c:pt idx="5">
                  <c:v>6.3468315150607579E-2</c:v>
                </c:pt>
                <c:pt idx="6">
                  <c:v>9.5086353681687233E-2</c:v>
                </c:pt>
                <c:pt idx="7">
                  <c:v>0.12272455636211188</c:v>
                </c:pt>
                <c:pt idx="8">
                  <c:v>0.11019879808564406</c:v>
                </c:pt>
                <c:pt idx="9">
                  <c:v>3.3793346302201127E-2</c:v>
                </c:pt>
                <c:pt idx="10">
                  <c:v>9.927160633702221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2">
                  <c:v>1.6440241072721144E-3</c:v>
                </c:pt>
                <c:pt idx="3">
                  <c:v>8.3105556641202921E-2</c:v>
                </c:pt>
                <c:pt idx="4">
                  <c:v>2.773710780301409E-3</c:v>
                </c:pt>
                <c:pt idx="5">
                  <c:v>2.1370621553664488E-7</c:v>
                </c:pt>
                <c:pt idx="6">
                  <c:v>3.3712422633675153E-2</c:v>
                </c:pt>
                <c:pt idx="7">
                  <c:v>8.9253011828478751E-2</c:v>
                </c:pt>
                <c:pt idx="8">
                  <c:v>9.453996113004498E-2</c:v>
                </c:pt>
                <c:pt idx="9">
                  <c:v>0.11749617594988361</c:v>
                </c:pt>
                <c:pt idx="10">
                  <c:v>9.161740397062230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2.4900335880278075E-4</c:v>
                </c:pt>
                <c:pt idx="1">
                  <c:v>2.5669678256209994E-3</c:v>
                </c:pt>
                <c:pt idx="2">
                  <c:v>6.9857000088670274E-4</c:v>
                </c:pt>
                <c:pt idx="3">
                  <c:v>5.2194003286053624E-3</c:v>
                </c:pt>
                <c:pt idx="4">
                  <c:v>1.6969502324348941E-2</c:v>
                </c:pt>
                <c:pt idx="5">
                  <c:v>7.1178826458318301E-2</c:v>
                </c:pt>
                <c:pt idx="6">
                  <c:v>1.5141958004484733E-2</c:v>
                </c:pt>
                <c:pt idx="7">
                  <c:v>3.2898255379034416E-2</c:v>
                </c:pt>
                <c:pt idx="8">
                  <c:v>2.4180270595878645E-2</c:v>
                </c:pt>
                <c:pt idx="9">
                  <c:v>5.3061294344106504E-3</c:v>
                </c:pt>
                <c:pt idx="10">
                  <c:v>3.221516126992282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1.6195013190392843E-3</c:v>
                </c:pt>
                <c:pt idx="5">
                  <c:v>3.440762676166715E-2</c:v>
                </c:pt>
                <c:pt idx="6">
                  <c:v>1.8093632635774282E-2</c:v>
                </c:pt>
                <c:pt idx="7">
                  <c:v>3.9699117320313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4382150665624514E-3</c:v>
                </c:pt>
                <c:pt idx="1">
                  <c:v>3.8708072554613647E-3</c:v>
                </c:pt>
                <c:pt idx="2">
                  <c:v>2.1058503625873217E-2</c:v>
                </c:pt>
                <c:pt idx="3">
                  <c:v>2.1429212674424119E-3</c:v>
                </c:pt>
                <c:pt idx="4">
                  <c:v>4.6668807171866616E-3</c:v>
                </c:pt>
                <c:pt idx="5">
                  <c:v>1.299960662028375E-2</c:v>
                </c:pt>
                <c:pt idx="6">
                  <c:v>5.9528560882932929E-2</c:v>
                </c:pt>
                <c:pt idx="7">
                  <c:v>3.5328967683399513E-2</c:v>
                </c:pt>
                <c:pt idx="8">
                  <c:v>2.8334202969223475E-2</c:v>
                </c:pt>
                <c:pt idx="9">
                  <c:v>2.759499316968222E-3</c:v>
                </c:pt>
                <c:pt idx="10">
                  <c:v>1.028543082986059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66118400716372E-2</c:v>
                </c:pt>
                <c:pt idx="1">
                  <c:v>1.7979971027474409E-2</c:v>
                </c:pt>
                <c:pt idx="2">
                  <c:v>1.1086532584295801E-2</c:v>
                </c:pt>
                <c:pt idx="3">
                  <c:v>1.3960396047619254E-2</c:v>
                </c:pt>
                <c:pt idx="4">
                  <c:v>2.7231768358389322E-2</c:v>
                </c:pt>
                <c:pt idx="5">
                  <c:v>0.14762693303421917</c:v>
                </c:pt>
                <c:pt idx="6">
                  <c:v>0.13467382647792436</c:v>
                </c:pt>
                <c:pt idx="7">
                  <c:v>0.15483900827319605</c:v>
                </c:pt>
                <c:pt idx="8">
                  <c:v>0.26165380079754724</c:v>
                </c:pt>
                <c:pt idx="9">
                  <c:v>0.18614307658344176</c:v>
                </c:pt>
                <c:pt idx="10">
                  <c:v>2.04385684151761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9713088181788768E-4</c:v>
                </c:pt>
                <c:pt idx="2">
                  <c:v>4.3850338175157249E-8</c:v>
                </c:pt>
                <c:pt idx="4">
                  <c:v>5.4322203703737184E-3</c:v>
                </c:pt>
                <c:pt idx="5">
                  <c:v>2.4861961159286367E-2</c:v>
                </c:pt>
                <c:pt idx="6">
                  <c:v>4.6146567879905231E-2</c:v>
                </c:pt>
                <c:pt idx="7">
                  <c:v>2.2198154308233661E-3</c:v>
                </c:pt>
                <c:pt idx="8">
                  <c:v>0.15182980242764646</c:v>
                </c:pt>
                <c:pt idx="9">
                  <c:v>0.11946298069449059</c:v>
                </c:pt>
                <c:pt idx="10">
                  <c:v>1.34261572583225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681801869492382E-3</c:v>
                </c:pt>
                <c:pt idx="3">
                  <c:v>1.3360557152412469E-3</c:v>
                </c:pt>
                <c:pt idx="4">
                  <c:v>3.9821065524359512E-3</c:v>
                </c:pt>
                <c:pt idx="5">
                  <c:v>9.1831688531884476E-2</c:v>
                </c:pt>
                <c:pt idx="6">
                  <c:v>4.2687066284737868E-2</c:v>
                </c:pt>
                <c:pt idx="7">
                  <c:v>1.0755297249029471E-2</c:v>
                </c:pt>
                <c:pt idx="8">
                  <c:v>4.9829061937105013E-3</c:v>
                </c:pt>
                <c:pt idx="10">
                  <c:v>3.279330674914452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5.4336809239452447E-3</c:v>
                </c:pt>
                <c:pt idx="6">
                  <c:v>1.2468830167694218E-2</c:v>
                </c:pt>
                <c:pt idx="7">
                  <c:v>7.1521800620634748E-2</c:v>
                </c:pt>
                <c:pt idx="8">
                  <c:v>3.961723566010963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4168987518898486E-2</c:v>
                </c:pt>
                <c:pt idx="1">
                  <c:v>1.7979971027474409E-2</c:v>
                </c:pt>
                <c:pt idx="2">
                  <c:v>7.9183085470083854E-3</c:v>
                </c:pt>
                <c:pt idx="3">
                  <c:v>7.1906594084327619E-3</c:v>
                </c:pt>
                <c:pt idx="4">
                  <c:v>1.7817441435579659E-2</c:v>
                </c:pt>
                <c:pt idx="5">
                  <c:v>3.0933283343048318E-2</c:v>
                </c:pt>
                <c:pt idx="6">
                  <c:v>3.3371362145587058E-2</c:v>
                </c:pt>
                <c:pt idx="7">
                  <c:v>7.0342094972708491E-2</c:v>
                </c:pt>
                <c:pt idx="8">
                  <c:v>6.5223856516080647E-2</c:v>
                </c:pt>
                <c:pt idx="9">
                  <c:v>6.6680095888951185E-2</c:v>
                </c:pt>
                <c:pt idx="10">
                  <c:v>6.979617850104540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5E-2</c:v>
                </c:pt>
                <c:pt idx="4">
                  <c:v>5.7701549538145838E-2</c:v>
                </c:pt>
                <c:pt idx="5">
                  <c:v>0.14579996000114001</c:v>
                </c:pt>
                <c:pt idx="6">
                  <c:v>0.1286472547711171</c:v>
                </c:pt>
                <c:pt idx="7">
                  <c:v>0.1797236450590925</c:v>
                </c:pt>
                <c:pt idx="8">
                  <c:v>0.24907140238754866</c:v>
                </c:pt>
                <c:pt idx="9">
                  <c:v>0.15553268833943143</c:v>
                </c:pt>
                <c:pt idx="10">
                  <c:v>5.624102605429427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3.8225773745351076E-5</c:v>
                </c:pt>
                <c:pt idx="2">
                  <c:v>4.0164702922471991E-4</c:v>
                </c:pt>
                <c:pt idx="3">
                  <c:v>4.9040371330939954E-4</c:v>
                </c:pt>
                <c:pt idx="4">
                  <c:v>2.0178929380227327E-2</c:v>
                </c:pt>
                <c:pt idx="5">
                  <c:v>2.1434278531619246E-2</c:v>
                </c:pt>
                <c:pt idx="6">
                  <c:v>2.8178332837032982E-2</c:v>
                </c:pt>
                <c:pt idx="7">
                  <c:v>2.3025306076452531E-2</c:v>
                </c:pt>
                <c:pt idx="8">
                  <c:v>0.10714444829909844</c:v>
                </c:pt>
                <c:pt idx="9">
                  <c:v>0.10232818507711655</c:v>
                </c:pt>
                <c:pt idx="10">
                  <c:v>5.57199516344661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6.756564186376998E-7</c:v>
                </c:pt>
                <c:pt idx="2">
                  <c:v>1.0056265390634238E-2</c:v>
                </c:pt>
                <c:pt idx="3">
                  <c:v>3.0062615741991957E-4</c:v>
                </c:pt>
                <c:pt idx="4">
                  <c:v>2.146562489455665E-2</c:v>
                </c:pt>
                <c:pt idx="5">
                  <c:v>8.4526174028782805E-2</c:v>
                </c:pt>
                <c:pt idx="6">
                  <c:v>2.9315094049735521E-2</c:v>
                </c:pt>
                <c:pt idx="7">
                  <c:v>1.9579949727886542E-2</c:v>
                </c:pt>
                <c:pt idx="8">
                  <c:v>5.2420905612190578E-3</c:v>
                </c:pt>
                <c:pt idx="10">
                  <c:v>3.1428260685117249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eur De Li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2">
                  <c:v>1.1561914533476032E-3</c:v>
                </c:pt>
                <c:pt idx="3">
                  <c:v>7.8647021362536103E-3</c:v>
                </c:pt>
                <c:pt idx="5">
                  <c:v>4.1943931491551263E-4</c:v>
                </c:pt>
                <c:pt idx="6">
                  <c:v>3.0147891771798805E-2</c:v>
                </c:pt>
                <c:pt idx="7">
                  <c:v>4.640047933113782E-2</c:v>
                </c:pt>
                <c:pt idx="8">
                  <c:v>5.2855946448045546E-2</c:v>
                </c:pt>
                <c:pt idx="9">
                  <c:v>3.1018771946548947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32699690459273E-2</c:v>
                </c:pt>
                <c:pt idx="1">
                  <c:v>2.0705941386764733E-2</c:v>
                </c:pt>
                <c:pt idx="2">
                  <c:v>4.6646295420900369E-3</c:v>
                </c:pt>
                <c:pt idx="3">
                  <c:v>8.8930921542940463E-3</c:v>
                </c:pt>
                <c:pt idx="4">
                  <c:v>1.6056995263361861E-2</c:v>
                </c:pt>
                <c:pt idx="5">
                  <c:v>3.9420068125822459E-2</c:v>
                </c:pt>
                <c:pt idx="6">
                  <c:v>4.1005936112549782E-2</c:v>
                </c:pt>
                <c:pt idx="7">
                  <c:v>9.0717909923615614E-2</c:v>
                </c:pt>
                <c:pt idx="8">
                  <c:v>8.3828917079185619E-2</c:v>
                </c:pt>
                <c:pt idx="9">
                  <c:v>5.3173484490368329E-2</c:v>
                </c:pt>
                <c:pt idx="10">
                  <c:v>2.0679181297699296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352154506864178E-2</c:v>
                </c:pt>
                <c:pt idx="1">
                  <c:v>1.8944882812584778E-3</c:v>
                </c:pt>
                <c:pt idx="2">
                  <c:v>4.1063764779702226E-3</c:v>
                </c:pt>
                <c:pt idx="3">
                  <c:v>1.662843254070168E-2</c:v>
                </c:pt>
                <c:pt idx="4">
                  <c:v>7.2937955575104671E-2</c:v>
                </c:pt>
                <c:pt idx="5">
                  <c:v>0.1579797189122554</c:v>
                </c:pt>
                <c:pt idx="6">
                  <c:v>9.598337906718378E-2</c:v>
                </c:pt>
                <c:pt idx="7">
                  <c:v>0.21068997706434742</c:v>
                </c:pt>
                <c:pt idx="8">
                  <c:v>0.19968366113881508</c:v>
                </c:pt>
                <c:pt idx="9">
                  <c:v>0.15604544109593402</c:v>
                </c:pt>
                <c:pt idx="10">
                  <c:v>4.26984153395650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aprice Des Dieux</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099638059920146E-5</c:v>
                </c:pt>
                <c:pt idx="1">
                  <c:v>4.9652516784552209E-5</c:v>
                </c:pt>
                <c:pt idx="2">
                  <c:v>2.1346000392107782E-3</c:v>
                </c:pt>
                <c:pt idx="3">
                  <c:v>5.4010073745683141E-3</c:v>
                </c:pt>
                <c:pt idx="4">
                  <c:v>2.3980718714754611E-2</c:v>
                </c:pt>
                <c:pt idx="5">
                  <c:v>8.6490681170313916E-2</c:v>
                </c:pt>
                <c:pt idx="6">
                  <c:v>2.5858857114332695E-3</c:v>
                </c:pt>
                <c:pt idx="7">
                  <c:v>5.5749069346889751E-2</c:v>
                </c:pt>
                <c:pt idx="8">
                  <c:v>2.9218058468430861E-3</c:v>
                </c:pt>
                <c:pt idx="9">
                  <c:v>1.099638059920146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3.1349330655618196E-7</c:v>
                </c:pt>
                <c:pt idx="4">
                  <c:v>2.4970899380947178E-2</c:v>
                </c:pt>
                <c:pt idx="5">
                  <c:v>6.5450167948010269E-3</c:v>
                </c:pt>
                <c:pt idx="6">
                  <c:v>4.6032296080441418E-2</c:v>
                </c:pt>
                <c:pt idx="7">
                  <c:v>9.341690582588727E-3</c:v>
                </c:pt>
                <c:pt idx="8">
                  <c:v>7.5749001825254486E-2</c:v>
                </c:pt>
                <c:pt idx="9">
                  <c:v>7.3772522986896696E-2</c:v>
                </c:pt>
                <c:pt idx="10">
                  <c:v>4.269841533956509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0309372075318455E-2</c:v>
                </c:pt>
                <c:pt idx="1">
                  <c:v>1.5883500099714985E-3</c:v>
                </c:pt>
                <c:pt idx="3">
                  <c:v>2.5332670656713012E-4</c:v>
                </c:pt>
                <c:pt idx="4">
                  <c:v>4.6541698588725477E-4</c:v>
                </c:pt>
                <c:pt idx="5">
                  <c:v>1.2628571442351353E-2</c:v>
                </c:pt>
                <c:pt idx="6">
                  <c:v>1.7162625135073415E-2</c:v>
                </c:pt>
                <c:pt idx="7">
                  <c:v>5.8732633375124403E-2</c:v>
                </c:pt>
                <c:pt idx="8">
                  <c:v>7.4166487613758882E-3</c:v>
                </c:pt>
                <c:pt idx="9">
                  <c:v>7.049000691855612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103178605094652E-2</c:v>
                </c:pt>
                <c:pt idx="1">
                  <c:v>2.5648575450242704E-4</c:v>
                </c:pt>
                <c:pt idx="2">
                  <c:v>1.9714629454528881E-3</c:v>
                </c:pt>
                <c:pt idx="3">
                  <c:v>1.0974098459566237E-2</c:v>
                </c:pt>
                <c:pt idx="4">
                  <c:v>2.3520920493515632E-2</c:v>
                </c:pt>
                <c:pt idx="5">
                  <c:v>5.2315449504789092E-2</c:v>
                </c:pt>
                <c:pt idx="6">
                  <c:v>3.0202572140235685E-2</c:v>
                </c:pt>
                <c:pt idx="7">
                  <c:v>8.6866583759744515E-2</c:v>
                </c:pt>
                <c:pt idx="8">
                  <c:v>0.11359620470534162</c:v>
                </c:pt>
                <c:pt idx="9">
                  <c:v>1.17719148098819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0.16</c:v>
                </c:pt>
                <c:pt idx="2">
                  <c:v>3.2899999999999999E-2</c:v>
                </c:pt>
                <c:pt idx="4">
                  <c:v>3.0999999999999999E-3</c:v>
                </c:pt>
                <c:pt idx="5">
                  <c:v>0.21490000000000001</c:v>
                </c:pt>
                <c:pt idx="6">
                  <c:v>3.1600000000000003E-2</c:v>
                </c:pt>
                <c:pt idx="7">
                  <c:v>0.27050000000000002</c:v>
                </c:pt>
                <c:pt idx="8">
                  <c:v>0.2868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11632227398507E-2</c:v>
                </c:pt>
                <c:pt idx="1">
                  <c:v>2.3450659593645454E-2</c:v>
                </c:pt>
                <c:pt idx="2">
                  <c:v>4.2418163511807661E-2</c:v>
                </c:pt>
                <c:pt idx="3">
                  <c:v>2.0666175437598685E-2</c:v>
                </c:pt>
                <c:pt idx="4">
                  <c:v>5.0223009271810573E-2</c:v>
                </c:pt>
                <c:pt idx="5">
                  <c:v>7.2486072766880225E-2</c:v>
                </c:pt>
                <c:pt idx="6">
                  <c:v>0.14481255446315669</c:v>
                </c:pt>
                <c:pt idx="7">
                  <c:v>0.16464962829241295</c:v>
                </c:pt>
                <c:pt idx="8">
                  <c:v>0.37080110599668015</c:v>
                </c:pt>
                <c:pt idx="9">
                  <c:v>7.1442598795916926E-2</c:v>
                </c:pt>
                <c:pt idx="10">
                  <c:v>2.9383996426922228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4026953427596778E-4</c:v>
                </c:pt>
                <c:pt idx="1">
                  <c:v>1.1616987661786514E-3</c:v>
                </c:pt>
                <c:pt idx="2">
                  <c:v>1.8942375567857307E-2</c:v>
                </c:pt>
                <c:pt idx="3">
                  <c:v>2.6785878801813978E-4</c:v>
                </c:pt>
                <c:pt idx="4">
                  <c:v>9.5626644052705895E-4</c:v>
                </c:pt>
                <c:pt idx="5">
                  <c:v>4.4772201259660138E-2</c:v>
                </c:pt>
                <c:pt idx="6">
                  <c:v>1.6746882082728166E-2</c:v>
                </c:pt>
                <c:pt idx="7">
                  <c:v>9.1466664264135092E-2</c:v>
                </c:pt>
                <c:pt idx="8">
                  <c:v>0.18740549520159638</c:v>
                </c:pt>
                <c:pt idx="9">
                  <c:v>6.9317613526885161E-2</c:v>
                </c:pt>
                <c:pt idx="10">
                  <c:v>2.542150612316626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3.6526153264520981E-4</c:v>
                </c:pt>
                <c:pt idx="4">
                  <c:v>3.5545329008789726E-2</c:v>
                </c:pt>
                <c:pt idx="5">
                  <c:v>3.333909458024299E-6</c:v>
                </c:pt>
                <c:pt idx="6">
                  <c:v>8.0993148012353439E-2</c:v>
                </c:pt>
                <c:pt idx="7">
                  <c:v>1.8433696394419587E-2</c:v>
                </c:pt>
                <c:pt idx="8">
                  <c:v>0.106145118470422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2.3927200276801803E-3</c:v>
                </c:pt>
                <c:pt idx="6">
                  <c:v>2.0531881397242643E-2</c:v>
                </c:pt>
                <c:pt idx="7">
                  <c:v>5.2946351909761071E-3</c:v>
                </c:pt>
                <c:pt idx="8">
                  <c:v>5.19189670286376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306101160477325E-2</c:v>
                </c:pt>
                <c:pt idx="1">
                  <c:v>2.2288960827466803E-2</c:v>
                </c:pt>
                <c:pt idx="2">
                  <c:v>2.3475787943950353E-2</c:v>
                </c:pt>
                <c:pt idx="3">
                  <c:v>1.8005596621900367E-2</c:v>
                </c:pt>
                <c:pt idx="4">
                  <c:v>1.372141382249379E-2</c:v>
                </c:pt>
                <c:pt idx="5">
                  <c:v>2.7710537597762059E-2</c:v>
                </c:pt>
                <c:pt idx="6">
                  <c:v>2.6540642970832432E-2</c:v>
                </c:pt>
                <c:pt idx="7">
                  <c:v>4.9454632442882167E-2</c:v>
                </c:pt>
                <c:pt idx="8">
                  <c:v>2.533152529602313E-2</c:v>
                </c:pt>
                <c:pt idx="9">
                  <c:v>2.1249852690317585E-3</c:v>
                </c:pt>
                <c:pt idx="10">
                  <c:v>3.962490303755963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45E-2</c:v>
                </c:pt>
                <c:pt idx="3">
                  <c:v>2.4302963422487257E-2</c:v>
                </c:pt>
                <c:pt idx="4">
                  <c:v>6.8264835910008592E-2</c:v>
                </c:pt>
                <c:pt idx="5">
                  <c:v>8.1085129025960004E-2</c:v>
                </c:pt>
                <c:pt idx="6">
                  <c:v>0.17391019501158078</c:v>
                </c:pt>
                <c:pt idx="7">
                  <c:v>0.21549263910120095</c:v>
                </c:pt>
                <c:pt idx="8">
                  <c:v>0.18617788954780062</c:v>
                </c:pt>
                <c:pt idx="9">
                  <c:v>9.8373163005540581E-2</c:v>
                </c:pt>
                <c:pt idx="10">
                  <c:v>1.211109612427878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5.8471293157413735E-3</c:v>
                </c:pt>
                <c:pt idx="1">
                  <c:v>1.092006253138679E-2</c:v>
                </c:pt>
                <c:pt idx="2">
                  <c:v>9.7703092868681816E-3</c:v>
                </c:pt>
                <c:pt idx="3">
                  <c:v>5.6818865986670236E-4</c:v>
                </c:pt>
                <c:pt idx="4">
                  <c:v>1.2979075352347186E-2</c:v>
                </c:pt>
                <c:pt idx="5">
                  <c:v>5.1461671621167847E-2</c:v>
                </c:pt>
                <c:pt idx="6">
                  <c:v>2.6026577204275821E-2</c:v>
                </c:pt>
                <c:pt idx="7">
                  <c:v>0.11304358006717868</c:v>
                </c:pt>
                <c:pt idx="8">
                  <c:v>6.842125233657842E-2</c:v>
                </c:pt>
                <c:pt idx="9">
                  <c:v>9.1647256663037982E-2</c:v>
                </c:pt>
                <c:pt idx="10">
                  <c:v>1.081169024282095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5.8932929382426877E-5</c:v>
                </c:pt>
                <c:pt idx="2">
                  <c:v>2.8693026863497596E-5</c:v>
                </c:pt>
                <c:pt idx="4">
                  <c:v>3.7624171272741688E-2</c:v>
                </c:pt>
                <c:pt idx="5">
                  <c:v>1.3659670309841923E-2</c:v>
                </c:pt>
                <c:pt idx="6">
                  <c:v>8.0220122225621637E-2</c:v>
                </c:pt>
                <c:pt idx="7">
                  <c:v>5.0437609606376867E-2</c:v>
                </c:pt>
                <c:pt idx="8">
                  <c:v>7.865077137684338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761514813472729E-3</c:v>
                </c:pt>
                <c:pt idx="4">
                  <c:v>7.3097457442948424E-6</c:v>
                </c:pt>
                <c:pt idx="5">
                  <c:v>1.7895228170680318E-5</c:v>
                </c:pt>
                <c:pt idx="6">
                  <c:v>2.2748960006682504E-2</c:v>
                </c:pt>
                <c:pt idx="7">
                  <c:v>3.1314526136026239E-3</c:v>
                </c:pt>
                <c:pt idx="8">
                  <c:v>2.661020428980163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5.1152539137243144E-2</c:v>
                </c:pt>
                <c:pt idx="1">
                  <c:v>3.3155277835094747E-2</c:v>
                </c:pt>
                <c:pt idx="2">
                  <c:v>2.9349144788562265E-2</c:v>
                </c:pt>
                <c:pt idx="3">
                  <c:v>1.6973259949147827E-2</c:v>
                </c:pt>
                <c:pt idx="4">
                  <c:v>1.7654279539175428E-2</c:v>
                </c:pt>
                <c:pt idx="5">
                  <c:v>1.5945891866779548E-2</c:v>
                </c:pt>
                <c:pt idx="6">
                  <c:v>4.491453557500083E-2</c:v>
                </c:pt>
                <c:pt idx="7">
                  <c:v>4.8879996814042766E-2</c:v>
                </c:pt>
                <c:pt idx="8">
                  <c:v>1.249566154457718E-2</c:v>
                </c:pt>
                <c:pt idx="9">
                  <c:v>6.7259063425025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165525822856861E-2</c:v>
                </c:pt>
                <c:pt idx="1">
                  <c:v>9.4537188852260035E-3</c:v>
                </c:pt>
                <c:pt idx="2">
                  <c:v>2.0219498100420973E-2</c:v>
                </c:pt>
                <c:pt idx="3">
                  <c:v>8.240412408021246E-3</c:v>
                </c:pt>
                <c:pt idx="4">
                  <c:v>5.5533695297342311E-2</c:v>
                </c:pt>
                <c:pt idx="5">
                  <c:v>9.3213785174338426E-2</c:v>
                </c:pt>
                <c:pt idx="6">
                  <c:v>0.21615012501036701</c:v>
                </c:pt>
                <c:pt idx="7">
                  <c:v>0.151632184131818</c:v>
                </c:pt>
                <c:pt idx="8">
                  <c:v>0.34844429515359976</c:v>
                </c:pt>
                <c:pt idx="9">
                  <c:v>8.294676001600942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1517237159222177E-3</c:v>
                </c:pt>
                <c:pt idx="4">
                  <c:v>4.2664254916507265E-2</c:v>
                </c:pt>
                <c:pt idx="5">
                  <c:v>2.363851662450068E-3</c:v>
                </c:pt>
                <c:pt idx="6">
                  <c:v>0.13061912267877912</c:v>
                </c:pt>
                <c:pt idx="7">
                  <c:v>1.8629309868748042E-2</c:v>
                </c:pt>
                <c:pt idx="8">
                  <c:v>0.126846419350542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2.5154757217617264E-3</c:v>
                </c:pt>
                <c:pt idx="2">
                  <c:v>1.7887792465559889E-2</c:v>
                </c:pt>
                <c:pt idx="4">
                  <c:v>8.1499796271115744E-3</c:v>
                </c:pt>
                <c:pt idx="5">
                  <c:v>8.1816742758027902E-2</c:v>
                </c:pt>
                <c:pt idx="6">
                  <c:v>2.9206648206708926E-2</c:v>
                </c:pt>
                <c:pt idx="7">
                  <c:v>7.7167343859306056E-2</c:v>
                </c:pt>
                <c:pt idx="8">
                  <c:v>0.1235200316263531</c:v>
                </c:pt>
                <c:pt idx="9">
                  <c:v>8.294676001600942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6">
                  <c:v>2.2506262097199775E-2</c:v>
                </c:pt>
                <c:pt idx="7">
                  <c:v>4.2216487049919794E-3</c:v>
                </c:pt>
                <c:pt idx="8">
                  <c:v>6.945060947337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4165525822856861E-2</c:v>
                </c:pt>
                <c:pt idx="1">
                  <c:v>6.938243163464277E-3</c:v>
                </c:pt>
                <c:pt idx="2">
                  <c:v>2.3317056348610837E-3</c:v>
                </c:pt>
                <c:pt idx="3">
                  <c:v>5.0886886920990283E-3</c:v>
                </c:pt>
                <c:pt idx="4">
                  <c:v>4.7194607537234734E-3</c:v>
                </c:pt>
                <c:pt idx="5">
                  <c:v>9.0331907538604584E-3</c:v>
                </c:pt>
                <c:pt idx="6">
                  <c:v>3.3818092027679179E-2</c:v>
                </c:pt>
                <c:pt idx="7">
                  <c:v>5.1613881698771936E-2</c:v>
                </c:pt>
                <c:pt idx="8">
                  <c:v>2.862723470332847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1743100656871526E-2</c:v>
                </c:pt>
                <c:pt idx="1">
                  <c:v>1.7668436403600652E-2</c:v>
                </c:pt>
                <c:pt idx="2">
                  <c:v>1.9761089853989711E-2</c:v>
                </c:pt>
                <c:pt idx="3">
                  <c:v>7.1929017483309335E-2</c:v>
                </c:pt>
                <c:pt idx="4">
                  <c:v>8.5834699757590782E-2</c:v>
                </c:pt>
                <c:pt idx="5">
                  <c:v>9.9113253128779624E-2</c:v>
                </c:pt>
                <c:pt idx="6">
                  <c:v>0.10772432930876731</c:v>
                </c:pt>
                <c:pt idx="7">
                  <c:v>0.18687023002152806</c:v>
                </c:pt>
                <c:pt idx="8">
                  <c:v>0.17963631715180861</c:v>
                </c:pt>
                <c:pt idx="9">
                  <c:v>0.14017528983490166</c:v>
                </c:pt>
                <c:pt idx="10">
                  <c:v>5.954423639885274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9E-2</c:v>
                </c:pt>
                <c:pt idx="4">
                  <c:v>7.0418162902305598E-2</c:v>
                </c:pt>
                <c:pt idx="5">
                  <c:v>0.21572543411195483</c:v>
                </c:pt>
                <c:pt idx="6">
                  <c:v>0.35475670948466687</c:v>
                </c:pt>
                <c:pt idx="7">
                  <c:v>0.11896334298735282</c:v>
                </c:pt>
                <c:pt idx="8">
                  <c:v>3.931459111135447E-2</c:v>
                </c:pt>
                <c:pt idx="9">
                  <c:v>2.424767731434951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7.5069372932280362E-5</c:v>
                </c:pt>
                <c:pt idx="1">
                  <c:v>2.3305851073747173E-6</c:v>
                </c:pt>
                <c:pt idx="2">
                  <c:v>1.2417848101588783E-3</c:v>
                </c:pt>
                <c:pt idx="3">
                  <c:v>2.0887685031284794E-3</c:v>
                </c:pt>
                <c:pt idx="4">
                  <c:v>3.1903502197226574E-3</c:v>
                </c:pt>
                <c:pt idx="5">
                  <c:v>7.476247167235133E-3</c:v>
                </c:pt>
                <c:pt idx="6">
                  <c:v>0.20295954379017314</c:v>
                </c:pt>
                <c:pt idx="7">
                  <c:v>0.10730673757925707</c:v>
                </c:pt>
                <c:pt idx="9">
                  <c:v>1.2066248672547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1">
                  <c:v>5.7857511264821783E-2</c:v>
                </c:pt>
                <c:pt idx="4">
                  <c:v>2.3203550653770827E-3</c:v>
                </c:pt>
                <c:pt idx="5">
                  <c:v>0.1228202650802594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9.3137540633138035E-4</c:v>
                </c:pt>
                <c:pt idx="2">
                  <c:v>5.9809682948183292E-3</c:v>
                </c:pt>
                <c:pt idx="3">
                  <c:v>2.2406981196544965E-3</c:v>
                </c:pt>
                <c:pt idx="4">
                  <c:v>5.6405139690855491E-2</c:v>
                </c:pt>
                <c:pt idx="5">
                  <c:v>1.3637038502443532E-2</c:v>
                </c:pt>
                <c:pt idx="6">
                  <c:v>8.6067281391607575E-2</c:v>
                </c:pt>
                <c:pt idx="8">
                  <c:v>1.706331753245695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1131319001265286E-2</c:v>
                </c:pt>
                <c:pt idx="1">
                  <c:v>1.8150915738406884E-2</c:v>
                </c:pt>
                <c:pt idx="2">
                  <c:v>1.2578830201321339E-2</c:v>
                </c:pt>
                <c:pt idx="3">
                  <c:v>3.4294510790069337E-2</c:v>
                </c:pt>
                <c:pt idx="4">
                  <c:v>8.5023179263503702E-3</c:v>
                </c:pt>
                <c:pt idx="5">
                  <c:v>7.1791883362016695E-2</c:v>
                </c:pt>
                <c:pt idx="6">
                  <c:v>6.5729884302886177E-2</c:v>
                </c:pt>
                <c:pt idx="7">
                  <c:v>1.1656605408095756E-2</c:v>
                </c:pt>
                <c:pt idx="8">
                  <c:v>2.2251273578897519E-2</c:v>
                </c:pt>
                <c:pt idx="9">
                  <c:v>1.21814286418017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64E-2</c:v>
                </c:pt>
                <c:pt idx="1">
                  <c:v>2.062966834660215E-2</c:v>
                </c:pt>
                <c:pt idx="2">
                  <c:v>8.0083321202325128E-2</c:v>
                </c:pt>
                <c:pt idx="3">
                  <c:v>2.8380127651671069E-2</c:v>
                </c:pt>
                <c:pt idx="4">
                  <c:v>0.14083598542271125</c:v>
                </c:pt>
                <c:pt idx="5">
                  <c:v>0.28115211531318074</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5703903842099452E-3</c:v>
                </c:pt>
                <c:pt idx="1">
                  <c:v>1.3804250705271718E-5</c:v>
                </c:pt>
                <c:pt idx="2">
                  <c:v>7.2152308572690678E-3</c:v>
                </c:pt>
                <c:pt idx="4">
                  <c:v>4.8225463571837318E-3</c:v>
                </c:pt>
                <c:pt idx="5">
                  <c:v>2.9913968144809101E-2</c:v>
                </c:pt>
                <c:pt idx="6">
                  <c:v>0.12019831688535947</c:v>
                </c:pt>
                <c:pt idx="7">
                  <c:v>4.8305779212304355E-2</c:v>
                </c:pt>
                <c:pt idx="8">
                  <c:v>1.4731331633318944E-3</c:v>
                </c:pt>
                <c:pt idx="9">
                  <c:v>6.2989737167066569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0092651620870016E-3</c:v>
                </c:pt>
                <c:pt idx="2">
                  <c:v>4.5795287981768351E-2</c:v>
                </c:pt>
                <c:pt idx="3">
                  <c:v>1.8224748260664411E-3</c:v>
                </c:pt>
                <c:pt idx="4">
                  <c:v>2.6213174023913981E-2</c:v>
                </c:pt>
                <c:pt idx="5">
                  <c:v>8.54414097402792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1">
                  <c:v>8.6260880259419516E-4</c:v>
                </c:pt>
                <c:pt idx="2">
                  <c:v>1.0020160480689108E-2</c:v>
                </c:pt>
                <c:pt idx="3">
                  <c:v>1.4463089943477869E-4</c:v>
                </c:pt>
                <c:pt idx="4">
                  <c:v>7.3316728492977407E-2</c:v>
                </c:pt>
                <c:pt idx="5">
                  <c:v>2.2879918078046724E-2</c:v>
                </c:pt>
                <c:pt idx="6">
                  <c:v>6.901042973887378E-2</c:v>
                </c:pt>
                <c:pt idx="8">
                  <c:v>2.063280567630788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4.549833972511972E-2</c:v>
                </c:pt>
                <c:pt idx="1">
                  <c:v>1.9753255293302682E-2</c:v>
                </c:pt>
                <c:pt idx="2">
                  <c:v>1.7052641882598613E-2</c:v>
                </c:pt>
                <c:pt idx="3">
                  <c:v>2.6413021926169847E-2</c:v>
                </c:pt>
                <c:pt idx="4">
                  <c:v>3.648353654863614E-2</c:v>
                </c:pt>
                <c:pt idx="5">
                  <c:v>0.14291681935004569</c:v>
                </c:pt>
                <c:pt idx="6">
                  <c:v>3.1193841798267188E-2</c:v>
                </c:pt>
                <c:pt idx="7">
                  <c:v>2.8138396397843525E-2</c:v>
                </c:pt>
                <c:pt idx="8">
                  <c:v>6.0849764574778878E-2</c:v>
                </c:pt>
                <c:pt idx="9">
                  <c:v>8.7393456283192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c:v>
                </c:pt>
                <c:pt idx="5">
                  <c:v>0.23404232341194106</c:v>
                </c:pt>
                <c:pt idx="6">
                  <c:v>0.17198108201208442</c:v>
                </c:pt>
                <c:pt idx="7">
                  <c:v>0.22892217743061699</c:v>
                </c:pt>
                <c:pt idx="8">
                  <c:v>4.438874975561162E-2</c:v>
                </c:pt>
                <c:pt idx="9">
                  <c:v>3.190008472130415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3">
                  <c:v>3.7381646200109857E-3</c:v>
                </c:pt>
                <c:pt idx="4">
                  <c:v>2.0456936440401821E-2</c:v>
                </c:pt>
                <c:pt idx="6">
                  <c:v>2.1934438744635094E-2</c:v>
                </c:pt>
                <c:pt idx="7">
                  <c:v>0.21666793903790116</c:v>
                </c:pt>
                <c:pt idx="8">
                  <c:v>4.7464412397240502E-3</c:v>
                </c:pt>
                <c:pt idx="9">
                  <c:v>1.844894843172487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7.2037314613959463E-3</c:v>
                </c:pt>
                <c:pt idx="1">
                  <c:v>7.9541946355587423E-2</c:v>
                </c:pt>
                <c:pt idx="4">
                  <c:v>2.6674549161631492E-2</c:v>
                </c:pt>
                <c:pt idx="5">
                  <c:v>0.154285129083613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3">
                  <c:v>6.4451499380882779E-3</c:v>
                </c:pt>
                <c:pt idx="4">
                  <c:v>3.3661356844271073E-2</c:v>
                </c:pt>
                <c:pt idx="6">
                  <c:v>0.11889825064471982</c:v>
                </c:pt>
                <c:pt idx="8">
                  <c:v>2.37284821852510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3176211002597501E-2</c:v>
                </c:pt>
                <c:pt idx="1">
                  <c:v>1.1987971436817459E-2</c:v>
                </c:pt>
                <c:pt idx="2">
                  <c:v>4.8661682695440873E-3</c:v>
                </c:pt>
                <c:pt idx="3">
                  <c:v>3.1255644207762709E-2</c:v>
                </c:pt>
                <c:pt idx="4">
                  <c:v>3.9757752930333019E-2</c:v>
                </c:pt>
                <c:pt idx="5">
                  <c:v>7.9757194328327646E-2</c:v>
                </c:pt>
                <c:pt idx="6">
                  <c:v>3.1148392622729518E-2</c:v>
                </c:pt>
                <c:pt idx="7">
                  <c:v>1.2254238392715829E-2</c:v>
                </c:pt>
                <c:pt idx="8">
                  <c:v>1.5913826330636528E-2</c:v>
                </c:pt>
                <c:pt idx="9">
                  <c:v>1.3451136289579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79075732324675E-2</c:v>
                </c:pt>
                <c:pt idx="1">
                  <c:v>5.824230887877261E-3</c:v>
                </c:pt>
                <c:pt idx="2">
                  <c:v>8.8857628345494141E-3</c:v>
                </c:pt>
                <c:pt idx="3">
                  <c:v>2.8017279950396302E-2</c:v>
                </c:pt>
                <c:pt idx="4">
                  <c:v>0.10832678515330775</c:v>
                </c:pt>
                <c:pt idx="5">
                  <c:v>6.6750441766783075E-2</c:v>
                </c:pt>
                <c:pt idx="6">
                  <c:v>0.21478575642534897</c:v>
                </c:pt>
                <c:pt idx="7">
                  <c:v>0.26519036993065692</c:v>
                </c:pt>
                <c:pt idx="8">
                  <c:v>0.15819348490249532</c:v>
                </c:pt>
                <c:pt idx="9">
                  <c:v>4.991458045757674E-2</c:v>
                </c:pt>
                <c:pt idx="10">
                  <c:v>1.732055036776149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4466927412136597E-6</c:v>
                </c:pt>
                <c:pt idx="1">
                  <c:v>2.0929565669634046E-3</c:v>
                </c:pt>
                <c:pt idx="2">
                  <c:v>4.3064322838881814E-4</c:v>
                </c:pt>
                <c:pt idx="4">
                  <c:v>4.0165701706533915E-5</c:v>
                </c:pt>
                <c:pt idx="5">
                  <c:v>2.810932262993805E-3</c:v>
                </c:pt>
                <c:pt idx="6">
                  <c:v>4.1338762849266587E-4</c:v>
                </c:pt>
                <c:pt idx="7">
                  <c:v>3.5380786132008894E-3</c:v>
                </c:pt>
                <c:pt idx="8">
                  <c:v>3.753305159015161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6529280227511586E-2</c:v>
                </c:pt>
                <c:pt idx="1">
                  <c:v>3.0797470635478524E-4</c:v>
                </c:pt>
                <c:pt idx="2">
                  <c:v>2.0207569545585679E-3</c:v>
                </c:pt>
                <c:pt idx="3">
                  <c:v>2.9722418103653937E-2</c:v>
                </c:pt>
                <c:pt idx="4">
                  <c:v>3.7124607517426071E-2</c:v>
                </c:pt>
                <c:pt idx="5">
                  <c:v>1.7737359601397294E-2</c:v>
                </c:pt>
                <c:pt idx="6">
                  <c:v>2.4997274361985424E-2</c:v>
                </c:pt>
                <c:pt idx="7">
                  <c:v>6.518028126930947E-2</c:v>
                </c:pt>
                <c:pt idx="8">
                  <c:v>8.730539106467726E-2</c:v>
                </c:pt>
                <c:pt idx="9">
                  <c:v>0.10904952741577124</c:v>
                </c:pt>
                <c:pt idx="10">
                  <c:v>5.257837502704109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9114806739003417E-3</c:v>
                </c:pt>
                <c:pt idx="1">
                  <c:v>2.4584407542879591E-4</c:v>
                </c:pt>
                <c:pt idx="2">
                  <c:v>1.1112446508019218E-3</c:v>
                </c:pt>
                <c:pt idx="3">
                  <c:v>4.9339662609483473E-4</c:v>
                </c:pt>
                <c:pt idx="4">
                  <c:v>3.5644469995640771E-3</c:v>
                </c:pt>
                <c:pt idx="5">
                  <c:v>1.3974200398110552E-2</c:v>
                </c:pt>
                <c:pt idx="6">
                  <c:v>7.7427023065807284E-3</c:v>
                </c:pt>
                <c:pt idx="7">
                  <c:v>1.8775850763144888E-2</c:v>
                </c:pt>
                <c:pt idx="8">
                  <c:v>1.1124022805554148E-2</c:v>
                </c:pt>
                <c:pt idx="9">
                  <c:v>1.227837063322857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1.3794835298647053E-4</c:v>
                </c:pt>
                <c:pt idx="1">
                  <c:v>1.8701052615016311E-3</c:v>
                </c:pt>
                <c:pt idx="2">
                  <c:v>1.0809137041304193E-4</c:v>
                </c:pt>
                <c:pt idx="3">
                  <c:v>8.0761002267077753E-4</c:v>
                </c:pt>
                <c:pt idx="4">
                  <c:v>2.6257307916714642E-3</c:v>
                </c:pt>
                <c:pt idx="5">
                  <c:v>1.1132804919394621E-2</c:v>
                </c:pt>
                <c:pt idx="6">
                  <c:v>3.8837858218517484E-3</c:v>
                </c:pt>
                <c:pt idx="7">
                  <c:v>6.9727421180493833E-3</c:v>
                </c:pt>
                <c:pt idx="8">
                  <c:v>4.1590845614916539E-3</c:v>
                </c:pt>
                <c:pt idx="9">
                  <c:v>1.66757103333694E-3</c:v>
                </c:pt>
                <c:pt idx="10">
                  <c:v>4.9847272647310075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3162944709731917E-2</c:v>
                </c:pt>
                <c:pt idx="1">
                  <c:v>1.3151555793352039E-2</c:v>
                </c:pt>
                <c:pt idx="2">
                  <c:v>1.609035364982736E-2</c:v>
                </c:pt>
                <c:pt idx="3">
                  <c:v>4.0905592730889784E-2</c:v>
                </c:pt>
                <c:pt idx="4">
                  <c:v>4.2479748747222643E-2</c:v>
                </c:pt>
                <c:pt idx="5">
                  <c:v>5.3457955946883337E-2</c:v>
                </c:pt>
                <c:pt idx="6">
                  <c:v>7.0687179189856744E-2</c:v>
                </c:pt>
                <c:pt idx="7">
                  <c:v>9.2403277257823394E-2</c:v>
                </c:pt>
                <c:pt idx="8">
                  <c:v>7.3294513561070418E-2</c:v>
                </c:pt>
                <c:pt idx="9">
                  <c:v>1.717982075256488E-2</c:v>
                </c:pt>
                <c:pt idx="10">
                  <c:v>1.981134107080641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28367928131451E-2</c:v>
                </c:pt>
                <c:pt idx="3">
                  <c:v>7.8465183354599899E-3</c:v>
                </c:pt>
                <c:pt idx="4">
                  <c:v>4.0169583068061653E-6</c:v>
                </c:pt>
                <c:pt idx="5">
                  <c:v>2.9226348535045792E-2</c:v>
                </c:pt>
                <c:pt idx="6">
                  <c:v>1.1542442769014174E-2</c:v>
                </c:pt>
                <c:pt idx="7">
                  <c:v>0.12413972085654607</c:v>
                </c:pt>
                <c:pt idx="8">
                  <c:v>0.13690292442813845</c:v>
                </c:pt>
                <c:pt idx="9">
                  <c:v>4.9094188454809916E-2</c:v>
                </c:pt>
                <c:pt idx="10">
                  <c:v>1.732055036776149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4.5296979286805553E-2</c:v>
                </c:pt>
                <c:pt idx="6">
                  <c:v>8.96656825477472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5">
                  <c:v>4.8627432245838707E-3</c:v>
                </c:pt>
                <c:pt idx="7">
                  <c:v>4.109516916648796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50707804193224E-2</c:v>
                </c:pt>
                <c:pt idx="1">
                  <c:v>5.824230887877261E-3</c:v>
                </c:pt>
                <c:pt idx="2">
                  <c:v>8.8857628345494141E-3</c:v>
                </c:pt>
                <c:pt idx="3">
                  <c:v>2.0170761614936313E-2</c:v>
                </c:pt>
                <c:pt idx="4">
                  <c:v>6.3025788908195393E-2</c:v>
                </c:pt>
                <c:pt idx="5">
                  <c:v>3.2661350007153415E-2</c:v>
                </c:pt>
                <c:pt idx="6">
                  <c:v>0.1135776311085876</c:v>
                </c:pt>
                <c:pt idx="7">
                  <c:v>9.9955479907622879E-2</c:v>
                </c:pt>
                <c:pt idx="8">
                  <c:v>2.129056047435687E-2</c:v>
                </c:pt>
                <c:pt idx="9">
                  <c:v>8.203920027668234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7.6448429682449359E-2</c:v>
                </c:pt>
                <c:pt idx="1">
                  <c:v>6.0672713405118314E-3</c:v>
                </c:pt>
                <c:pt idx="2">
                  <c:v>8.8689164590058552E-3</c:v>
                </c:pt>
                <c:pt idx="3">
                  <c:v>2.6540558614162744E-2</c:v>
                </c:pt>
                <c:pt idx="4">
                  <c:v>0.10919847111894317</c:v>
                </c:pt>
                <c:pt idx="5">
                  <c:v>6.8477411550126682E-2</c:v>
                </c:pt>
                <c:pt idx="6">
                  <c:v>0.21762123672328099</c:v>
                </c:pt>
                <c:pt idx="7">
                  <c:v>0.26121260760034987</c:v>
                </c:pt>
                <c:pt idx="8">
                  <c:v>0.1583424397951064</c:v>
                </c:pt>
                <c:pt idx="9">
                  <c:v>5.2444286750582443E-2</c:v>
                </c:pt>
                <c:pt idx="10">
                  <c:v>1.4778370365480638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292093916979203E-2</c:v>
                </c:pt>
                <c:pt idx="3">
                  <c:v>7.2800152687201468E-3</c:v>
                </c:pt>
                <c:pt idx="4">
                  <c:v>5.7254112975613821E-4</c:v>
                </c:pt>
                <c:pt idx="5">
                  <c:v>2.9234110091203337E-2</c:v>
                </c:pt>
                <c:pt idx="6">
                  <c:v>1.1545965090023026E-2</c:v>
                </c:pt>
                <c:pt idx="7">
                  <c:v>0.12426151557832789</c:v>
                </c:pt>
                <c:pt idx="8">
                  <c:v>0.13685275658517371</c:v>
                </c:pt>
                <c:pt idx="9">
                  <c:v>5.168465357297379E-2</c:v>
                </c:pt>
                <c:pt idx="10">
                  <c:v>1.474837823662067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4">
                  <c:v>4.5309604154125105E-2</c:v>
                </c:pt>
                <c:pt idx="6">
                  <c:v>8.96906362134148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ve D'Affino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4">
                  <c:v>5.9912506215474071E-5</c:v>
                </c:pt>
                <c:pt idx="5">
                  <c:v>4.8040861046753994E-3</c:v>
                </c:pt>
                <c:pt idx="6">
                  <c:v>6.8594438253884085E-4</c:v>
                </c:pt>
                <c:pt idx="7">
                  <c:v>4.042045664092461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3.5156335765470163E-2</c:v>
                </c:pt>
                <c:pt idx="1">
                  <c:v>6.0672713405118322E-3</c:v>
                </c:pt>
                <c:pt idx="2">
                  <c:v>8.8689164590058534E-3</c:v>
                </c:pt>
                <c:pt idx="3">
                  <c:v>1.9260543345442596E-2</c:v>
                </c:pt>
                <c:pt idx="4">
                  <c:v>6.3256413328846475E-2</c:v>
                </c:pt>
                <c:pt idx="5">
                  <c:v>3.4439215354247939E-2</c:v>
                </c:pt>
                <c:pt idx="6">
                  <c:v>0.11569869103730432</c:v>
                </c:pt>
                <c:pt idx="7">
                  <c:v>9.6530635381097352E-2</c:v>
                </c:pt>
                <c:pt idx="8">
                  <c:v>2.1489683209932702E-2</c:v>
                </c:pt>
                <c:pt idx="9">
                  <c:v>7.5963317760865143E-4</c:v>
                </c:pt>
                <c:pt idx="10">
                  <c:v>2.9992128859961872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6889999999999997</c:v>
                </c:pt>
                <c:pt idx="4">
                  <c:v>0.14979999999999999</c:v>
                </c:pt>
                <c:pt idx="5">
                  <c:v>0.15809999999999999</c:v>
                </c:pt>
                <c:pt idx="6">
                  <c:v>8.5999999999999993E-2</c:v>
                </c:pt>
                <c:pt idx="7">
                  <c:v>0.26860000000000001</c:v>
                </c:pt>
                <c:pt idx="8">
                  <c:v>6.8000000000000005E-2</c:v>
                </c:pt>
                <c:pt idx="9">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054186806456609E-2</c:v>
                </c:pt>
                <c:pt idx="1">
                  <c:v>1.9388419241720661E-2</c:v>
                </c:pt>
                <c:pt idx="2">
                  <c:v>2.1087854795020847E-2</c:v>
                </c:pt>
                <c:pt idx="3">
                  <c:v>4.6570673243805184E-2</c:v>
                </c:pt>
                <c:pt idx="4">
                  <c:v>7.462882923789696E-2</c:v>
                </c:pt>
                <c:pt idx="5">
                  <c:v>9.6005516019994852E-2</c:v>
                </c:pt>
                <c:pt idx="6">
                  <c:v>0.1265381674943396</c:v>
                </c:pt>
                <c:pt idx="7">
                  <c:v>0.17825652938472852</c:v>
                </c:pt>
                <c:pt idx="8">
                  <c:v>0.23031073586023193</c:v>
                </c:pt>
                <c:pt idx="9">
                  <c:v>0.10325666844976601</c:v>
                </c:pt>
                <c:pt idx="10">
                  <c:v>8.341473820792935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6905626999909258E-8</c:v>
                </c:pt>
                <c:pt idx="2">
                  <c:v>2.2757574807570156E-8</c:v>
                </c:pt>
                <c:pt idx="3">
                  <c:v>6.2574123656267211E-3</c:v>
                </c:pt>
                <c:pt idx="4">
                  <c:v>3.4856073765726758E-3</c:v>
                </c:pt>
                <c:pt idx="5">
                  <c:v>3.6788198369053695E-3</c:v>
                </c:pt>
                <c:pt idx="6">
                  <c:v>2.0020644826584076E-3</c:v>
                </c:pt>
                <c:pt idx="7">
                  <c:v>6.2496942966848391E-3</c:v>
                </c:pt>
                <c:pt idx="8">
                  <c:v>1.5834174369311932E-3</c:v>
                </c:pt>
                <c:pt idx="9">
                  <c:v>1.1709747563129456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4.1924641522600352E-3</c:v>
                </c:pt>
                <c:pt idx="1">
                  <c:v>2.1422101798383862E-3</c:v>
                </c:pt>
                <c:pt idx="2">
                  <c:v>2.7074550203117368E-3</c:v>
                </c:pt>
                <c:pt idx="3">
                  <c:v>7.9417700502922572E-3</c:v>
                </c:pt>
                <c:pt idx="4">
                  <c:v>2.459290169199415E-2</c:v>
                </c:pt>
                <c:pt idx="5">
                  <c:v>1.4846155559474121E-2</c:v>
                </c:pt>
                <c:pt idx="6">
                  <c:v>3.1597286585746169E-2</c:v>
                </c:pt>
                <c:pt idx="7">
                  <c:v>5.7406291304896682E-2</c:v>
                </c:pt>
                <c:pt idx="8">
                  <c:v>0.11443574382985335</c:v>
                </c:pt>
                <c:pt idx="9">
                  <c:v>7.4895677407709887E-2</c:v>
                </c:pt>
                <c:pt idx="10">
                  <c:v>7.093295097313226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2">
                  <c:v>6.1071447493887582E-4</c:v>
                </c:pt>
                <c:pt idx="3">
                  <c:v>2.5754487323157918E-4</c:v>
                </c:pt>
                <c:pt idx="4">
                  <c:v>7.6761104761007221E-4</c:v>
                </c:pt>
                <c:pt idx="5">
                  <c:v>1.7701941851515909E-2</c:v>
                </c:pt>
                <c:pt idx="6">
                  <c:v>8.2285753127785636E-3</c:v>
                </c:pt>
                <c:pt idx="7">
                  <c:v>2.0732456251415258E-3</c:v>
                </c:pt>
                <c:pt idx="8">
                  <c:v>9.6053026033595973E-4</c:v>
                </c:pt>
                <c:pt idx="10">
                  <c:v>6.3214040651199161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4.7871533932358433E-5</c:v>
                </c:pt>
                <c:pt idx="4">
                  <c:v>4.6586056063942253E-3</c:v>
                </c:pt>
                <c:pt idx="5">
                  <c:v>2.7607539107274893E-5</c:v>
                </c:pt>
                <c:pt idx="6">
                  <c:v>1.0789796009324663E-2</c:v>
                </c:pt>
                <c:pt idx="7">
                  <c:v>2.41593828962384E-3</c:v>
                </c:pt>
                <c:pt idx="8">
                  <c:v>1.429646064475857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1.6301515472746695E-2</c:v>
                </c:pt>
                <c:pt idx="1">
                  <c:v>1.7246209061882276E-2</c:v>
                </c:pt>
                <c:pt idx="2">
                  <c:v>1.7769662542195429E-2</c:v>
                </c:pt>
                <c:pt idx="3">
                  <c:v>3.2113945954654631E-2</c:v>
                </c:pt>
                <c:pt idx="4">
                  <c:v>4.1124103515325847E-2</c:v>
                </c:pt>
                <c:pt idx="5">
                  <c:v>5.9750991232992171E-2</c:v>
                </c:pt>
                <c:pt idx="6">
                  <c:v>7.3920445103831806E-2</c:v>
                </c:pt>
                <c:pt idx="7">
                  <c:v>0.11011135986838164</c:v>
                </c:pt>
                <c:pt idx="8">
                  <c:v>9.9034583688352856E-2</c:v>
                </c:pt>
                <c:pt idx="9">
                  <c:v>2.834928129449299E-2</c:v>
                </c:pt>
                <c:pt idx="10">
                  <c:v>1.2475465830731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0.2414</c:v>
                </c:pt>
                <c:pt idx="4">
                  <c:v>0.26279999999999998</c:v>
                </c:pt>
                <c:pt idx="5">
                  <c:v>0.1242</c:v>
                </c:pt>
                <c:pt idx="6">
                  <c:v>0.1134</c:v>
                </c:pt>
                <c:pt idx="7">
                  <c:v>0.14369999999999999</c:v>
                </c:pt>
                <c:pt idx="8">
                  <c:v>6.4399999999999999E-2</c:v>
                </c:pt>
                <c:pt idx="9">
                  <c:v>4.97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84E-2</c:v>
                </c:pt>
                <c:pt idx="1">
                  <c:v>2.5712148835382802E-2</c:v>
                </c:pt>
                <c:pt idx="2">
                  <c:v>3.3589224880169175E-2</c:v>
                </c:pt>
                <c:pt idx="3">
                  <c:v>4.7555465818613675E-2</c:v>
                </c:pt>
                <c:pt idx="4">
                  <c:v>7.2169314610381535E-2</c:v>
                </c:pt>
                <c:pt idx="5">
                  <c:v>0.11538975237199361</c:v>
                </c:pt>
                <c:pt idx="6">
                  <c:v>0.13910064653920556</c:v>
                </c:pt>
                <c:pt idx="7">
                  <c:v>0.18415888055193388</c:v>
                </c:pt>
                <c:pt idx="8">
                  <c:v>0.19567579739573701</c:v>
                </c:pt>
                <c:pt idx="9">
                  <c:v>0.13733259935179568</c:v>
                </c:pt>
                <c:pt idx="10">
                  <c:v>2.53689024590849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2489956130536928E-7</c:v>
                </c:pt>
                <c:pt idx="1">
                  <c:v>2.0803330605509118E-6</c:v>
                </c:pt>
                <c:pt idx="2">
                  <c:v>3.2298779269996632E-6</c:v>
                </c:pt>
                <c:pt idx="3">
                  <c:v>6.9812717608735983E-3</c:v>
                </c:pt>
                <c:pt idx="4">
                  <c:v>7.5990963650850868E-3</c:v>
                </c:pt>
                <c:pt idx="5">
                  <c:v>3.5924220732757128E-3</c:v>
                </c:pt>
                <c:pt idx="6">
                  <c:v>3.2777212980458176E-3</c:v>
                </c:pt>
                <c:pt idx="7">
                  <c:v>4.1556947684890846E-3</c:v>
                </c:pt>
                <c:pt idx="8">
                  <c:v>1.8617436727184685E-3</c:v>
                </c:pt>
                <c:pt idx="9">
                  <c:v>1.4410703024494579E-3</c:v>
                </c:pt>
                <c:pt idx="10">
                  <c:v>1.2868039549799455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C$2:$C$12</c:f>
              <c:numCache>
                <c:formatCode>General</c:formatCode>
                <c:ptCount val="11"/>
                <c:pt idx="0">
                  <c:v>1.4375916424244955E-3</c:v>
                </c:pt>
                <c:pt idx="1">
                  <c:v>1.5459962969385226E-3</c:v>
                </c:pt>
                <c:pt idx="2">
                  <c:v>9.0189987424751251E-3</c:v>
                </c:pt>
                <c:pt idx="3">
                  <c:v>2.8217122911730575E-3</c:v>
                </c:pt>
                <c:pt idx="4">
                  <c:v>1.0145338244269071E-2</c:v>
                </c:pt>
                <c:pt idx="5">
                  <c:v>3.2002445476550817E-2</c:v>
                </c:pt>
                <c:pt idx="6">
                  <c:v>3.5358824811018041E-2</c:v>
                </c:pt>
                <c:pt idx="7">
                  <c:v>5.0030530281701201E-2</c:v>
                </c:pt>
                <c:pt idx="8">
                  <c:v>7.5155446132228909E-2</c:v>
                </c:pt>
                <c:pt idx="9">
                  <c:v>0.10334522445991616</c:v>
                </c:pt>
                <c:pt idx="10">
                  <c:v>1.5435157678479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D$2:$D$12</c:f>
              <c:numCache>
                <c:formatCode>General</c:formatCode>
                <c:ptCount val="11"/>
                <c:pt idx="0">
                  <c:v>1.41548435047794E-7</c:v>
                </c:pt>
                <c:pt idx="2">
                  <c:v>2.1067640137861997E-3</c:v>
                </c:pt>
                <c:pt idx="3">
                  <c:v>6.2980474903235128E-5</c:v>
                </c:pt>
                <c:pt idx="4">
                  <c:v>4.4969980708149324E-3</c:v>
                </c:pt>
                <c:pt idx="5">
                  <c:v>1.7708035214814292E-2</c:v>
                </c:pt>
                <c:pt idx="6">
                  <c:v>6.141443449002454E-3</c:v>
                </c:pt>
                <c:pt idx="7">
                  <c:v>4.1019535459826057E-3</c:v>
                </c:pt>
                <c:pt idx="8">
                  <c:v>1.0982056779915682E-3</c:v>
                </c:pt>
                <c:pt idx="10">
                  <c:v>6.5841469029807213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Apericub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E$2:$E$12</c:f>
              <c:numCache>
                <c:formatCode>General</c:formatCode>
                <c:ptCount val="11"/>
                <c:pt idx="0">
                  <c:v>2.1446732582999091E-7</c:v>
                </c:pt>
                <c:pt idx="1">
                  <c:v>1.8337814227767542E-4</c:v>
                </c:pt>
                <c:pt idx="2">
                  <c:v>1.5481924423550219E-3</c:v>
                </c:pt>
                <c:pt idx="3">
                  <c:v>6.3462039836653791E-3</c:v>
                </c:pt>
                <c:pt idx="4">
                  <c:v>1.3772328161122062E-2</c:v>
                </c:pt>
                <c:pt idx="5">
                  <c:v>5.3123556608088748E-5</c:v>
                </c:pt>
                <c:pt idx="6">
                  <c:v>1.296883919293955E-4</c:v>
                </c:pt>
                <c:pt idx="7">
                  <c:v>1.5682408479736093E-3</c:v>
                </c:pt>
                <c:pt idx="8">
                  <c:v>2.426097283254023E-3</c:v>
                </c:pt>
                <c:pt idx="9">
                  <c:v>1.940285896783927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F$2:$F$12</c:f>
              <c:numCache>
                <c:formatCode>General</c:formatCode>
                <c:ptCount val="11"/>
                <c:pt idx="0">
                  <c:v>2.2508594627955507E-2</c:v>
                </c:pt>
                <c:pt idx="1">
                  <c:v>2.3980694063106052E-2</c:v>
                </c:pt>
                <c:pt idx="2">
                  <c:v>2.0912039803625826E-2</c:v>
                </c:pt>
                <c:pt idx="3">
                  <c:v>3.1343297307998411E-2</c:v>
                </c:pt>
                <c:pt idx="4">
                  <c:v>3.6155553769090396E-2</c:v>
                </c:pt>
                <c:pt idx="5">
                  <c:v>6.2033726050744704E-2</c:v>
                </c:pt>
                <c:pt idx="6">
                  <c:v>9.4192968589209822E-2</c:v>
                </c:pt>
                <c:pt idx="7">
                  <c:v>0.12430246110778739</c:v>
                </c:pt>
                <c:pt idx="8">
                  <c:v>0.11513430462954402</c:v>
                </c:pt>
                <c:pt idx="9">
                  <c:v>3.235227599975167E-2</c:v>
                </c:pt>
                <c:pt idx="10">
                  <c:v>9.927147765662671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86745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7752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565308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51408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66607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959712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38731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1779486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213980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3945195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940632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339975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3622409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846330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92806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082023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63067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965329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68593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161354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7036795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72031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2676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494399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207733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312622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356010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1759665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982688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9731063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771563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2115653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212882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120135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790748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694479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835018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215236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235158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7560366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668798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150892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214390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021587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415512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007906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139057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323527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243972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3834341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739904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301573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024360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205773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813229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9208020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653274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3330714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889116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0795505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465672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2715387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3009922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8898303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32254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350816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75421832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08988646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036216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608701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899603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093265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7208733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9232755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6442613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296887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330258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2978255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8821869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189842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5210742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5649603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8279745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4155029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483521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6288178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6877837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89027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3657702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5889690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6779831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30126879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Base Price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Base Pric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6"/>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93103">
                <a:tc>
                  <a:txBody>
                    <a:bodyPr/>
                    <a:lstStyle/>
                    <a:p>
                      <a:pPr algn="ctr">
                        <a:defRPr sz="800">
                          <a:latin typeface="Nexa Bold"/>
                        </a:defRPr>
                      </a:pPr>
                      <a:r>
                        <a:t>6+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93103">
                <a:tc>
                  <a:txBody>
                    <a:bodyPr/>
                    <a:lstStyle/>
                    <a:p>
                      <a:pPr algn="ctr">
                        <a:defRPr sz="800">
                          <a:latin typeface="Nexa Bold"/>
                        </a:defRPr>
                      </a:pPr>
                      <a:r>
                        <a:t>5.5-5.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93103">
                <a:tc>
                  <a:txBody>
                    <a:bodyPr/>
                    <a:lstStyle/>
                    <a:p>
                      <a:pPr algn="ctr">
                        <a:defRPr sz="800">
                          <a:latin typeface="Nexa Bold"/>
                        </a:defRPr>
                      </a:pPr>
                      <a:r>
                        <a:t>5-5.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93103">
                <a:tc>
                  <a:txBody>
                    <a:bodyPr/>
                    <a:lstStyle/>
                    <a:p>
                      <a:pPr algn="ctr">
                        <a:defRPr sz="800">
                          <a:latin typeface="Nexa Bold"/>
                        </a:defRPr>
                      </a:pPr>
                      <a:r>
                        <a:t>4.5-4.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93103">
                <a:tc>
                  <a:txBody>
                    <a:bodyPr/>
                    <a:lstStyle/>
                    <a:p>
                      <a:pPr algn="ctr">
                        <a:defRPr sz="800">
                          <a:latin typeface="Nexa Bold"/>
                        </a:defRPr>
                      </a:pPr>
                      <a:r>
                        <a:t>4-4.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93103">
                <a:tc>
                  <a:txBody>
                    <a:bodyPr/>
                    <a:lstStyle/>
                    <a:p>
                      <a:pPr algn="ctr">
                        <a:defRPr sz="800">
                          <a:latin typeface="Nexa Bold"/>
                        </a:defRPr>
                      </a:pPr>
                      <a:r>
                        <a:t>3.5-3.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93103">
                <a:tc>
                  <a:txBody>
                    <a:bodyPr/>
                    <a:lstStyle/>
                    <a:p>
                      <a:pPr algn="ctr">
                        <a:defRPr sz="800">
                          <a:latin typeface="Nexa Bold"/>
                        </a:defRPr>
                      </a:pPr>
                      <a:r>
                        <a:t>3-3.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93103">
                <a:tc>
                  <a:txBody>
                    <a:bodyPr/>
                    <a:lstStyle/>
                    <a:p>
                      <a:pPr algn="ctr">
                        <a:defRPr sz="800">
                          <a:latin typeface="Nexa Bold"/>
                        </a:defRPr>
                      </a:pPr>
                      <a:r>
                        <a:t>2.5-2.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93103">
                <a:tc>
                  <a:txBody>
                    <a:bodyPr/>
                    <a:lstStyle/>
                    <a:p>
                      <a:pPr algn="ctr">
                        <a:defRPr sz="800">
                          <a:latin typeface="Nexa Bold"/>
                        </a:defRPr>
                      </a:pPr>
                      <a:r>
                        <a:t>2-2.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93103">
                <a:tc>
                  <a:txBody>
                    <a:bodyPr/>
                    <a:lstStyle/>
                    <a:p>
                      <a:pPr algn="ctr">
                        <a:defRPr sz="800">
                          <a:latin typeface="Nexa Bold"/>
                        </a:defRPr>
                      </a:pPr>
                      <a:r>
                        <a:t>1.5-1.9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93103">
                <a:tc>
                  <a:txBody>
                    <a:bodyPr/>
                    <a:lstStyle/>
                    <a:p>
                      <a:pPr algn="ctr">
                        <a:defRPr sz="800">
                          <a:latin typeface="Nexa Bold"/>
                        </a:defRPr>
                      </a:pPr>
                      <a:r>
                        <a:t>0-1.49 €</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103710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8280</Words>
  <Application>Microsoft Office PowerPoint</Application>
  <PresentationFormat>On-screen Show (16:9)</PresentationFormat>
  <Paragraphs>2827</Paragraphs>
  <Slides>9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02"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lpstr>Brand Share Topline By Base Pric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0T14:5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